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4.xml" ContentType="application/vnd.openxmlformats-officedocument.theme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theme/theme7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3.xml" ContentType="application/vnd.openxmlformats-officedocument.presentationml.notesSlide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9" r:id="rId1"/>
    <p:sldMasterId id="2147483663" r:id="rId2"/>
    <p:sldMasterId id="2147483678" r:id="rId3"/>
    <p:sldMasterId id="2147483696" r:id="rId4"/>
    <p:sldMasterId id="2147483712" r:id="rId5"/>
  </p:sldMasterIdLst>
  <p:notesMasterIdLst>
    <p:notesMasterId r:id="rId16"/>
  </p:notesMasterIdLst>
  <p:handoutMasterIdLst>
    <p:handoutMasterId r:id="rId17"/>
  </p:handoutMasterIdLst>
  <p:sldIdLst>
    <p:sldId id="407" r:id="rId6"/>
    <p:sldId id="396" r:id="rId7"/>
    <p:sldId id="389" r:id="rId8"/>
    <p:sldId id="393" r:id="rId9"/>
    <p:sldId id="373" r:id="rId10"/>
    <p:sldId id="411" r:id="rId11"/>
    <p:sldId id="410" r:id="rId12"/>
    <p:sldId id="387" r:id="rId13"/>
    <p:sldId id="388" r:id="rId14"/>
    <p:sldId id="408" r:id="rId15"/>
  </p:sldIdLst>
  <p:sldSz cx="12192000" cy="6858000"/>
  <p:notesSz cx="6797675" cy="9928225"/>
  <p:defaultTextStyle>
    <a:defPPr>
      <a:defRPr lang="it-IT"/>
    </a:defPPr>
    <a:lvl1pPr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100" b="1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 userDrawn="1">
          <p15:clr>
            <a:srgbClr val="A4A3A4"/>
          </p15:clr>
        </p15:guide>
        <p15:guide id="2" pos="214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astelli Chiara" initials="CC" lastIdx="3" clrIdx="0"/>
  <p:cmAuthor id="1" name="Selvaggi Laura" initials="SL" lastIdx="2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DE88D"/>
    <a:srgbClr val="00266B"/>
    <a:srgbClr val="FFD88B"/>
    <a:srgbClr val="EE832A"/>
    <a:srgbClr val="FFB219"/>
    <a:srgbClr val="FFB400"/>
    <a:srgbClr val="FFDC95"/>
    <a:srgbClr val="DBE2ED"/>
    <a:srgbClr val="BAC5D0"/>
    <a:srgbClr val="D2D9E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940675A-B579-460E-94D1-54222C63F5DA}" styleName="Nessuno stile, griglia tabella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3C2FFA5D-87B4-456A-9821-1D502468CF0F}" styleName="Stile con tema 1 - Colore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284E427A-3D55-4303-BF80-6455036E1DE7}" styleName="Stile con tema 1 - Colore 2">
    <a:tblBg>
      <a:fillRef idx="2">
        <a:schemeClr val="accent2"/>
      </a:fillRef>
      <a:effectRef idx="1">
        <a:schemeClr val="accent2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Ref idx="1">
              <a:schemeClr val="accent2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  <a:fill>
          <a:solidFill>
            <a:schemeClr val="accent2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2"/>
            </a:lnRef>
          </a:left>
          <a:right>
            <a:lnRef idx="2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Ref idx="1">
              <a:schemeClr val="accent2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2">
              <a:schemeClr val="accent2"/>
            </a:lnRef>
          </a:top>
          <a:bottom>
            <a:lnRef idx="2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firstRow>
  </a:tblStyle>
  <a:tblStyle styleId="{69C7853C-536D-4A76-A0AE-DD22124D55A5}" styleName="Stile con tema 1 - Colore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0588" autoAdjust="0"/>
    <p:restoredTop sz="94434" autoAdjust="0"/>
  </p:normalViewPr>
  <p:slideViewPr>
    <p:cSldViewPr>
      <p:cViewPr varScale="1">
        <p:scale>
          <a:sx n="70" d="100"/>
          <a:sy n="70" d="100"/>
        </p:scale>
        <p:origin x="72" y="66"/>
      </p:cViewPr>
      <p:guideLst>
        <p:guide orient="horz" pos="2160"/>
        <p:guide pos="3840"/>
      </p:guideLst>
    </p:cSldViewPr>
  </p:slideViewPr>
  <p:outlineViewPr>
    <p:cViewPr>
      <p:scale>
        <a:sx n="25" d="100"/>
        <a:sy n="25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45" d="100"/>
          <a:sy n="45" d="100"/>
        </p:scale>
        <p:origin x="-3054" y="-108"/>
      </p:cViewPr>
      <p:guideLst>
        <p:guide orient="horz" pos="3128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commentAuthors" Target="commentAuthors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Radio\2018\02.%20Febbraio\Elaborati%20finali\Secondi%20di%20Avvisi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Radio\2018\02.%20Febbraio\Elaborati%20finali\Secondi%20di%20Avvisi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Clienti\FCP\AssoRadio\dati\2016\02_Febbraio\Elaborati%20finali\Trend%20Fatturato%20Totale%20per%20tabelle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m.sacchi\Documents\Clienti%20-%20FCP\AssoRadio\2018\02.%20Febbraio\Elaborati%20finali\Trend%20Fatturato%20Totale%20per%20tabelle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oleObject" Target="file:///C:\Clienti\FCP\AssoRadio\dati\2016\02_Febbraio\Elaborati%20finali\Trend%20Fatturato%20Totale%20per%20tabelle.xlsx" TargetMode="External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m.sacchi\Documents\Clienti%20-%20FCP\AssoRadio\2018\02.%20Febbraio\Elaborati%20finali\Trend%20Fatturato%20Totale%20per%20tabelle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1.5475229109825385E-2"/>
          <c:y val="3.1329887568986865E-2"/>
          <c:w val="0.95304645417404954"/>
          <c:h val="0.73930334452668245"/>
        </c:manualLayout>
      </c:layout>
      <c:barChart>
        <c:barDir val="col"/>
        <c:grouping val="percentStacked"/>
        <c:varyColors val="0"/>
        <c:ser>
          <c:idx val="0"/>
          <c:order val="0"/>
          <c:tx>
            <c:v>&lt; 15" - Nazionale</c:v>
          </c:tx>
          <c:spPr>
            <a:solidFill>
              <a:schemeClr val="accent5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0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0,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0,8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7</c:v>
                </c:pt>
                <c:pt idx="13">
                  <c:v>Tot. 2018</c:v>
                </c:pt>
              </c:strCache>
            </c:strRef>
          </c:cat>
          <c:val>
            <c:numRef>
              <c:f>(grafico!$B$2:$D$2,grafico!$O$2:$P$2)</c:f>
              <c:numCache>
                <c:formatCode>0.0%</c:formatCode>
                <c:ptCount val="5"/>
                <c:pt idx="0">
                  <c:v>1.99347816562455E-3</c:v>
                </c:pt>
                <c:pt idx="1">
                  <c:v>1.3134115306288247E-2</c:v>
                </c:pt>
                <c:pt idx="2">
                  <c:v>0</c:v>
                </c:pt>
                <c:pt idx="3">
                  <c:v>2.8724113794557703E-3</c:v>
                </c:pt>
                <c:pt idx="4">
                  <c:v>8.0173872954667023E-3</c:v>
                </c:pt>
              </c:numCache>
            </c:numRef>
          </c:val>
        </c:ser>
        <c:ser>
          <c:idx val="1"/>
          <c:order val="1"/>
          <c:tx>
            <c:v>15" - Nazionale</c:v>
          </c:tx>
          <c:spPr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1,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2,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3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11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7</c:v>
                </c:pt>
                <c:pt idx="13">
                  <c:v>Tot. 2018</c:v>
                </c:pt>
              </c:strCache>
            </c:strRef>
          </c:cat>
          <c:val>
            <c:numRef>
              <c:f>(grafico!$B$3:$D$3,grafico!$O$3:$P$3)</c:f>
              <c:numCache>
                <c:formatCode>0.0%</c:formatCode>
                <c:ptCount val="5"/>
                <c:pt idx="0">
                  <c:v>0.11679215877724994</c:v>
                </c:pt>
                <c:pt idx="1">
                  <c:v>0.12128821189227554</c:v>
                </c:pt>
                <c:pt idx="2">
                  <c:v>0</c:v>
                </c:pt>
                <c:pt idx="3">
                  <c:v>0.13025923732639205</c:v>
                </c:pt>
                <c:pt idx="4">
                  <c:v>0.11922324194295157</c:v>
                </c:pt>
              </c:numCache>
            </c:numRef>
          </c:val>
        </c:ser>
        <c:ser>
          <c:idx val="2"/>
          <c:order val="2"/>
          <c:tx>
            <c:v>20" - Nazionale</c:v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3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3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1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13,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7</c:v>
                </c:pt>
                <c:pt idx="13">
                  <c:v>Tot. 2018</c:v>
                </c:pt>
              </c:strCache>
            </c:strRef>
          </c:cat>
          <c:val>
            <c:numRef>
              <c:f>(grafico!$B$4:$D$4,grafico!$O$4:$P$4)</c:f>
              <c:numCache>
                <c:formatCode>0.0%</c:formatCode>
                <c:ptCount val="5"/>
                <c:pt idx="0">
                  <c:v>0.13868286485031703</c:v>
                </c:pt>
                <c:pt idx="1">
                  <c:v>0.13473034493001818</c:v>
                </c:pt>
                <c:pt idx="2">
                  <c:v>0</c:v>
                </c:pt>
                <c:pt idx="3">
                  <c:v>0.11911929579733883</c:v>
                </c:pt>
                <c:pt idx="4">
                  <c:v>0.13654567821250208</c:v>
                </c:pt>
              </c:numCache>
            </c:numRef>
          </c:val>
        </c:ser>
        <c:ser>
          <c:idx val="3"/>
          <c:order val="3"/>
          <c:tx>
            <c:v>25" e 30" - Nazionale</c:v>
          </c:tx>
          <c:spPr>
            <a:solidFill>
              <a:srgbClr val="00206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73,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72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73,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72,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7</c:v>
                </c:pt>
                <c:pt idx="13">
                  <c:v>Tot. 2018</c:v>
                </c:pt>
              </c:strCache>
            </c:strRef>
          </c:cat>
          <c:val>
            <c:numRef>
              <c:f>(grafico!$B$5:$D$5,grafico!$O$5:$P$5)</c:f>
              <c:numCache>
                <c:formatCode>0.0%</c:formatCode>
                <c:ptCount val="5"/>
                <c:pt idx="0">
                  <c:v>0.73382215796358541</c:v>
                </c:pt>
                <c:pt idx="1">
                  <c:v>0.71953141431973433</c:v>
                </c:pt>
                <c:pt idx="2">
                  <c:v>0</c:v>
                </c:pt>
                <c:pt idx="3">
                  <c:v>0.73243466006407942</c:v>
                </c:pt>
                <c:pt idx="4">
                  <c:v>0.72609493913206891</c:v>
                </c:pt>
              </c:numCache>
            </c:numRef>
          </c:val>
        </c:ser>
        <c:ser>
          <c:idx val="4"/>
          <c:order val="4"/>
          <c:tx>
            <c:v>&gt; 30" - Nazionale</c:v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2328630152205313E-3"/>
                  <c:y val="-1.2604675878203499E-2"/>
                </c:manualLayout>
              </c:layout>
              <c:tx>
                <c:rich>
                  <a:bodyPr/>
                  <a:lstStyle/>
                  <a:p>
                    <a:r>
                      <a:rPr lang="en-US" smtClean="0"/>
                      <a:t>0,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1.4109543384068436E-3"/>
                  <c:y val="-1.2604675878203499E-2"/>
                </c:manualLayout>
              </c:layout>
              <c:tx>
                <c:rich>
                  <a:bodyPr/>
                  <a:lstStyle/>
                  <a:p>
                    <a:r>
                      <a:rPr lang="en-US" smtClean="0"/>
                      <a:t>1,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</c:extLst>
            </c:dLbl>
            <c:dLbl>
              <c:idx val="3"/>
              <c:layout>
                <c:manualLayout>
                  <c:x val="0"/>
                  <c:y val="-1.5125611053844201E-2"/>
                </c:manualLayout>
              </c:layout>
              <c:tx>
                <c:rich>
                  <a:bodyPr/>
                  <a:lstStyle/>
                  <a:p>
                    <a:r>
                      <a:rPr lang="en-US" smtClean="0"/>
                      <a:t>1,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>
                <c:manualLayout>
                  <c:x val="1.4109543384067402E-3"/>
                  <c:y val="-1.2604675878203499E-2"/>
                </c:manualLayout>
              </c:layout>
              <c:tx>
                <c:rich>
                  <a:bodyPr/>
                  <a:lstStyle/>
                  <a:p>
                    <a:r>
                      <a:rPr lang="en-US" smtClean="0"/>
                      <a:t>1,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ysClr val="windowText" lastClr="000000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(grafico!$B$1:$M$1,grafico!$O$1:$P$1)</c:f>
              <c:strCache>
                <c:ptCount val="14"/>
                <c:pt idx="0">
                  <c:v>gen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g</c:v>
                </c:pt>
                <c:pt idx="5">
                  <c:v>giu</c:v>
                </c:pt>
                <c:pt idx="6">
                  <c:v>lug</c:v>
                </c:pt>
                <c:pt idx="7">
                  <c:v>ago</c:v>
                </c:pt>
                <c:pt idx="8">
                  <c:v>set</c:v>
                </c:pt>
                <c:pt idx="9">
                  <c:v>ott</c:v>
                </c:pt>
                <c:pt idx="10">
                  <c:v>nov</c:v>
                </c:pt>
                <c:pt idx="11">
                  <c:v>dic</c:v>
                </c:pt>
                <c:pt idx="12">
                  <c:v>Tot. 2017</c:v>
                </c:pt>
                <c:pt idx="13">
                  <c:v>Tot. 2018</c:v>
                </c:pt>
              </c:strCache>
            </c:strRef>
          </c:cat>
          <c:val>
            <c:numRef>
              <c:f>(grafico!$B$6:$D$6,grafico!$O$6:$P$6)</c:f>
              <c:numCache>
                <c:formatCode>0.0%</c:formatCode>
                <c:ptCount val="5"/>
                <c:pt idx="0">
                  <c:v>8.709340243223113E-3</c:v>
                </c:pt>
                <c:pt idx="1">
                  <c:v>1.131591355168368E-2</c:v>
                </c:pt>
                <c:pt idx="2">
                  <c:v>0</c:v>
                </c:pt>
                <c:pt idx="3">
                  <c:v>1.5314395432733942E-2</c:v>
                </c:pt>
                <c:pt idx="4">
                  <c:v>1.0118753417010681E-2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50"/>
        <c:overlap val="100"/>
        <c:axId val="136224672"/>
        <c:axId val="136225064"/>
      </c:barChart>
      <c:catAx>
        <c:axId val="13622467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36225064"/>
        <c:crosses val="autoZero"/>
        <c:auto val="1"/>
        <c:lblAlgn val="ctr"/>
        <c:lblOffset val="100"/>
        <c:noMultiLvlLbl val="0"/>
      </c:catAx>
      <c:valAx>
        <c:axId val="136225064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3622467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1.997615957906167E-2"/>
          <c:y val="0.89146917521551516"/>
          <c:w val="0.9691388814759414"/>
          <c:h val="9.34052137306406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ysClr val="windowText" lastClr="000000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6.1530929592297966E-2"/>
          <c:y val="3.1343940850372502E-2"/>
          <c:w val="0.92518097304256908"/>
          <c:h val="0.80953666178798167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'trend storico'!$C$29</c:f>
              <c:strCache>
                <c:ptCount val="1"/>
                <c:pt idx="0">
                  <c:v>&lt; 15" - Nazional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trend storico'!$B$30:$B$36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'trend storico'!$C$30:$C$36</c:f>
              <c:numCache>
                <c:formatCode>0%</c:formatCode>
                <c:ptCount val="7"/>
                <c:pt idx="0">
                  <c:v>1.4679834342147181E-2</c:v>
                </c:pt>
                <c:pt idx="1">
                  <c:v>1.0612026496448417E-2</c:v>
                </c:pt>
                <c:pt idx="2">
                  <c:v>2.2189633871041127E-3</c:v>
                </c:pt>
                <c:pt idx="3">
                  <c:v>3.0933726833722902E-3</c:v>
                </c:pt>
                <c:pt idx="4">
                  <c:v>6.8474017933441737E-3</c:v>
                </c:pt>
                <c:pt idx="5">
                  <c:v>3.0572313574723279E-3</c:v>
                </c:pt>
                <c:pt idx="6">
                  <c:v>1.3134115306288247E-2</c:v>
                </c:pt>
              </c:numCache>
            </c:numRef>
          </c:val>
        </c:ser>
        <c:ser>
          <c:idx val="1"/>
          <c:order val="1"/>
          <c:tx>
            <c:strRef>
              <c:f>'trend storico'!$D$29</c:f>
              <c:strCache>
                <c:ptCount val="1"/>
                <c:pt idx="0">
                  <c:v>15" - Nazionale</c:v>
                </c:pt>
              </c:strCache>
            </c:strRef>
          </c:tx>
          <c:spPr>
            <a:solidFill>
              <a:schemeClr val="accent1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5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17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1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1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trend storico'!$B$30:$B$36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'trend storico'!$D$30:$D$36</c:f>
              <c:numCache>
                <c:formatCode>0%</c:formatCode>
                <c:ptCount val="7"/>
                <c:pt idx="0">
                  <c:v>0.1488896801154358</c:v>
                </c:pt>
                <c:pt idx="1">
                  <c:v>9.3247439792578019E-2</c:v>
                </c:pt>
                <c:pt idx="2">
                  <c:v>0.14193140813176583</c:v>
                </c:pt>
                <c:pt idx="3">
                  <c:v>0.12715371915320814</c:v>
                </c:pt>
                <c:pt idx="4">
                  <c:v>0.17348243768881591</c:v>
                </c:pt>
                <c:pt idx="5">
                  <c:v>0.13715906979200199</c:v>
                </c:pt>
                <c:pt idx="6">
                  <c:v>0.12128821189227554</c:v>
                </c:pt>
              </c:numCache>
            </c:numRef>
          </c:val>
        </c:ser>
        <c:ser>
          <c:idx val="2"/>
          <c:order val="2"/>
          <c:tx>
            <c:strRef>
              <c:f>'trend storico'!$E$29</c:f>
              <c:strCache>
                <c:ptCount val="1"/>
                <c:pt idx="0">
                  <c:v>20" - Nazionale</c:v>
                </c:pt>
              </c:strCache>
            </c:strRef>
          </c:tx>
          <c:spPr>
            <a:solidFill>
              <a:srgbClr val="00B05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10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1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1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1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1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trend storico'!$B$30:$B$36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'trend storico'!$E$30:$E$36</c:f>
              <c:numCache>
                <c:formatCode>0%</c:formatCode>
                <c:ptCount val="7"/>
                <c:pt idx="0">
                  <c:v>0.10539137604707381</c:v>
                </c:pt>
                <c:pt idx="1">
                  <c:v>9.0095768776605356E-2</c:v>
                </c:pt>
                <c:pt idx="2">
                  <c:v>9.7858385336641943E-2</c:v>
                </c:pt>
                <c:pt idx="3">
                  <c:v>0.11627361985080449</c:v>
                </c:pt>
                <c:pt idx="4">
                  <c:v>0.11526230060989408</c:v>
                </c:pt>
                <c:pt idx="5">
                  <c:v>0.11600013133367656</c:v>
                </c:pt>
                <c:pt idx="6">
                  <c:v>0.13473034493001818</c:v>
                </c:pt>
              </c:numCache>
            </c:numRef>
          </c:val>
        </c:ser>
        <c:ser>
          <c:idx val="3"/>
          <c:order val="3"/>
          <c:tx>
            <c:strRef>
              <c:f>'trend storico'!$F$29</c:f>
              <c:strCache>
                <c:ptCount val="1"/>
                <c:pt idx="0">
                  <c:v>25" e 30" - Nazionale</c:v>
                </c:pt>
              </c:strCache>
            </c:strRef>
          </c:tx>
          <c:spPr>
            <a:solidFill>
              <a:srgbClr val="00467A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7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79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7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7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66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7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7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chemeClr val="bg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trend storico'!$B$30:$B$36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'trend storico'!$F$30:$F$36</c:f>
              <c:numCache>
                <c:formatCode>0%</c:formatCode>
                <c:ptCount val="7"/>
                <c:pt idx="0">
                  <c:v>0.71964394805389498</c:v>
                </c:pt>
                <c:pt idx="1">
                  <c:v>0.78619904273245678</c:v>
                </c:pt>
                <c:pt idx="2">
                  <c:v>0.74195625772174756</c:v>
                </c:pt>
                <c:pt idx="3">
                  <c:v>0.72158096139482986</c:v>
                </c:pt>
                <c:pt idx="4">
                  <c:v>0.66124580691360257</c:v>
                </c:pt>
                <c:pt idx="5">
                  <c:v>0.72961983977968436</c:v>
                </c:pt>
                <c:pt idx="6">
                  <c:v>0.71953141431973433</c:v>
                </c:pt>
              </c:numCache>
            </c:numRef>
          </c:val>
        </c:ser>
        <c:ser>
          <c:idx val="4"/>
          <c:order val="4"/>
          <c:tx>
            <c:strRef>
              <c:f>'trend storico'!$G$29</c:f>
              <c:strCache>
                <c:ptCount val="1"/>
                <c:pt idx="0">
                  <c:v>&gt; 30" - Nazionale</c:v>
                </c:pt>
              </c:strCache>
            </c:strRef>
          </c:tx>
          <c:spPr>
            <a:solidFill>
              <a:srgbClr val="FFC000"/>
            </a:solidFill>
            <a:ln>
              <a:noFill/>
            </a:ln>
            <a:effectLst/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smtClean="0"/>
                      <a:t>2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smtClean="0"/>
                      <a:t>3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4"/>
              <c:layout/>
              <c:tx>
                <c:rich>
                  <a:bodyPr/>
                  <a:lstStyle/>
                  <a:p>
                    <a:r>
                      <a:rPr lang="en-US" smtClean="0"/>
                      <a:t>4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5"/>
              <c:layout/>
              <c:tx>
                <c:rich>
                  <a:bodyPr/>
                  <a:lstStyle/>
                  <a:p>
                    <a:r>
                      <a:rPr lang="en-US" smtClean="0"/>
                      <a:t>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6"/>
              <c:layout/>
              <c:tx>
                <c:rich>
                  <a:bodyPr/>
                  <a:lstStyle/>
                  <a:p>
                    <a:r>
                      <a:rPr lang="en-US" smtClean="0"/>
                      <a:t>1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3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it-IT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trend storico'!$B$30:$B$36</c:f>
              <c:numCache>
                <c:formatCode>General</c:formatCode>
                <c:ptCount val="7"/>
                <c:pt idx="0">
                  <c:v>2012</c:v>
                </c:pt>
                <c:pt idx="1">
                  <c:v>2013</c:v>
                </c:pt>
                <c:pt idx="2">
                  <c:v>2014</c:v>
                </c:pt>
                <c:pt idx="3">
                  <c:v>2015</c:v>
                </c:pt>
                <c:pt idx="4">
                  <c:v>2016</c:v>
                </c:pt>
                <c:pt idx="5">
                  <c:v>2017</c:v>
                </c:pt>
                <c:pt idx="6">
                  <c:v>2018</c:v>
                </c:pt>
              </c:numCache>
            </c:numRef>
          </c:cat>
          <c:val>
            <c:numRef>
              <c:f>'trend storico'!$G$30:$G$36</c:f>
              <c:numCache>
                <c:formatCode>0%</c:formatCode>
                <c:ptCount val="7"/>
                <c:pt idx="0">
                  <c:v>1.1395161441448195E-2</c:v>
                </c:pt>
                <c:pt idx="1">
                  <c:v>1.9845722201911453E-2</c:v>
                </c:pt>
                <c:pt idx="2">
                  <c:v>1.6034985422740525E-2</c:v>
                </c:pt>
                <c:pt idx="3">
                  <c:v>3.1898326917785227E-2</c:v>
                </c:pt>
                <c:pt idx="4">
                  <c:v>4.3162052994343315E-2</c:v>
                </c:pt>
                <c:pt idx="5">
                  <c:v>1.4163727737164756E-2</c:v>
                </c:pt>
                <c:pt idx="6">
                  <c:v>1.131591355168368E-2</c:v>
                </c:pt>
              </c:numCache>
            </c:numRef>
          </c:val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gapWidth val="150"/>
        <c:overlap val="100"/>
        <c:axId val="136225848"/>
        <c:axId val="200124424"/>
      </c:barChart>
      <c:catAx>
        <c:axId val="1362258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1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200124424"/>
        <c:crosses val="autoZero"/>
        <c:auto val="1"/>
        <c:lblAlgn val="ctr"/>
        <c:lblOffset val="100"/>
        <c:noMultiLvlLbl val="0"/>
      </c:catAx>
      <c:valAx>
        <c:axId val="2001244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3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13622584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300" b="0" i="0" u="none" strike="noStrike" kern="1200" baseline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defRPr>
          </a:pPr>
          <a:endParaRPr lang="it-IT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300" b="1">
          <a:solidFill>
            <a:schemeClr val="tx1">
              <a:lumMod val="75000"/>
              <a:lumOff val="25000"/>
            </a:schemeClr>
          </a:solidFill>
          <a:latin typeface="Arial" panose="020B0604020202020204" pitchFamily="34" charset="0"/>
          <a:cs typeface="Arial" panose="020B0604020202020204" pitchFamily="34" charset="0"/>
        </a:defRPr>
      </a:pPr>
      <a:endParaRPr lang="it-IT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1474211072453162E-2"/>
          <c:y val="3.2044815293610682E-2"/>
          <c:w val="0.92395959226026991"/>
          <c:h val="0.76537438790300472"/>
        </c:manualLayout>
      </c:layout>
      <c:lineChart>
        <c:grouping val="standar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0125208"/>
        <c:axId val="200125600"/>
      </c:lineChart>
      <c:catAx>
        <c:axId val="200125208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it-IT"/>
          </a:p>
        </c:txPr>
        <c:crossAx val="200125600"/>
        <c:crosses val="autoZero"/>
        <c:auto val="1"/>
        <c:lblAlgn val="ctr"/>
        <c:lblOffset val="100"/>
        <c:noMultiLvlLbl val="0"/>
      </c:catAx>
      <c:valAx>
        <c:axId val="200125600"/>
        <c:scaling>
          <c:orientation val="minMax"/>
          <c:min val="5000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it-IT"/>
          </a:p>
        </c:txPr>
        <c:crossAx val="200125208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1474211072453162E-2"/>
          <c:y val="3.2044815293610682E-2"/>
          <c:w val="0.92395959226026991"/>
          <c:h val="0.76537438790300472"/>
        </c:manualLayout>
      </c:layout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5">
                  <a:lumMod val="10000"/>
                </a:schemeClr>
              </a:solidFill>
              <a:round/>
            </a:ln>
            <a:effectLst/>
          </c:spPr>
          <c:marker>
            <c:symbol val="none"/>
          </c:marker>
          <c:trendline>
            <c:spPr>
              <a:ln w="22225" cap="rnd">
                <a:solidFill>
                  <a:srgbClr val="FFC000"/>
                </a:solidFill>
                <a:prstDash val="solid"/>
              </a:ln>
              <a:effectLst/>
            </c:spPr>
            <c:trendlineType val="linear"/>
            <c:dispRSqr val="0"/>
            <c:dispEq val="0"/>
          </c:trendline>
          <c:cat>
            <c:strRef>
              <c:f>mensile!$C$2:$C$135</c:f>
              <c:strCache>
                <c:ptCount val="134"/>
                <c:pt idx="0">
                  <c:v>Gennaio</c:v>
                </c:pt>
                <c:pt idx="1">
                  <c:v>Febbraio</c:v>
                </c:pt>
                <c:pt idx="2">
                  <c:v>Marzo</c:v>
                </c:pt>
                <c:pt idx="3">
                  <c:v>Aprile</c:v>
                </c:pt>
                <c:pt idx="4">
                  <c:v>Maggio</c:v>
                </c:pt>
                <c:pt idx="5">
                  <c:v>Giugno</c:v>
                </c:pt>
                <c:pt idx="6">
                  <c:v>Luglio</c:v>
                </c:pt>
                <c:pt idx="7">
                  <c:v>Agosto</c:v>
                </c:pt>
                <c:pt idx="8">
                  <c:v>Settembre</c:v>
                </c:pt>
                <c:pt idx="9">
                  <c:v>Ottobre</c:v>
                </c:pt>
                <c:pt idx="10">
                  <c:v>Novembre</c:v>
                </c:pt>
                <c:pt idx="11">
                  <c:v>Dicembre</c:v>
                </c:pt>
                <c:pt idx="12">
                  <c:v>Gennaio</c:v>
                </c:pt>
                <c:pt idx="13">
                  <c:v>Febbraio</c:v>
                </c:pt>
                <c:pt idx="14">
                  <c:v>Marzo</c:v>
                </c:pt>
                <c:pt idx="15">
                  <c:v>Aprile</c:v>
                </c:pt>
                <c:pt idx="16">
                  <c:v>Maggio</c:v>
                </c:pt>
                <c:pt idx="17">
                  <c:v>Giugno</c:v>
                </c:pt>
                <c:pt idx="18">
                  <c:v>Luglio</c:v>
                </c:pt>
                <c:pt idx="19">
                  <c:v>Agosto</c:v>
                </c:pt>
                <c:pt idx="20">
                  <c:v>Settembre</c:v>
                </c:pt>
                <c:pt idx="21">
                  <c:v>Ottobre</c:v>
                </c:pt>
                <c:pt idx="22">
                  <c:v>Novembre</c:v>
                </c:pt>
                <c:pt idx="23">
                  <c:v>Dicembre</c:v>
                </c:pt>
                <c:pt idx="24">
                  <c:v>Gennaio</c:v>
                </c:pt>
                <c:pt idx="25">
                  <c:v>Febbraio</c:v>
                </c:pt>
                <c:pt idx="26">
                  <c:v>Marzo</c:v>
                </c:pt>
                <c:pt idx="27">
                  <c:v>Aprile</c:v>
                </c:pt>
                <c:pt idx="28">
                  <c:v>Maggio</c:v>
                </c:pt>
                <c:pt idx="29">
                  <c:v>Giugno</c:v>
                </c:pt>
                <c:pt idx="30">
                  <c:v>Luglio</c:v>
                </c:pt>
                <c:pt idx="31">
                  <c:v>Agosto</c:v>
                </c:pt>
                <c:pt idx="32">
                  <c:v>Settembre</c:v>
                </c:pt>
                <c:pt idx="33">
                  <c:v>Ottobre</c:v>
                </c:pt>
                <c:pt idx="34">
                  <c:v>Novembre</c:v>
                </c:pt>
                <c:pt idx="35">
                  <c:v>Dicembre</c:v>
                </c:pt>
                <c:pt idx="36">
                  <c:v>Gennaio</c:v>
                </c:pt>
                <c:pt idx="37">
                  <c:v>Febbraio</c:v>
                </c:pt>
                <c:pt idx="38">
                  <c:v>Marzo</c:v>
                </c:pt>
                <c:pt idx="39">
                  <c:v>Aprile</c:v>
                </c:pt>
                <c:pt idx="40">
                  <c:v>Maggio</c:v>
                </c:pt>
                <c:pt idx="41">
                  <c:v>Giugno</c:v>
                </c:pt>
                <c:pt idx="42">
                  <c:v>Luglio</c:v>
                </c:pt>
                <c:pt idx="43">
                  <c:v>Agosto</c:v>
                </c:pt>
                <c:pt idx="44">
                  <c:v>Settembre</c:v>
                </c:pt>
                <c:pt idx="45">
                  <c:v>Ottobre</c:v>
                </c:pt>
                <c:pt idx="46">
                  <c:v>Novembre</c:v>
                </c:pt>
                <c:pt idx="47">
                  <c:v>Dicembre</c:v>
                </c:pt>
                <c:pt idx="48">
                  <c:v>Gennaio</c:v>
                </c:pt>
                <c:pt idx="49">
                  <c:v>Febbraio</c:v>
                </c:pt>
                <c:pt idx="50">
                  <c:v>Marzo</c:v>
                </c:pt>
                <c:pt idx="51">
                  <c:v>Aprile</c:v>
                </c:pt>
                <c:pt idx="52">
                  <c:v>Maggio</c:v>
                </c:pt>
                <c:pt idx="53">
                  <c:v>Giugno</c:v>
                </c:pt>
                <c:pt idx="54">
                  <c:v>Luglio</c:v>
                </c:pt>
                <c:pt idx="55">
                  <c:v>Agosto</c:v>
                </c:pt>
                <c:pt idx="56">
                  <c:v>Settembre</c:v>
                </c:pt>
                <c:pt idx="57">
                  <c:v>Ottobre</c:v>
                </c:pt>
                <c:pt idx="58">
                  <c:v>Novembre</c:v>
                </c:pt>
                <c:pt idx="59">
                  <c:v>Dicembre</c:v>
                </c:pt>
                <c:pt idx="60">
                  <c:v>Gennaio</c:v>
                </c:pt>
                <c:pt idx="61">
                  <c:v>Febbraio</c:v>
                </c:pt>
                <c:pt idx="62">
                  <c:v>Marzo</c:v>
                </c:pt>
                <c:pt idx="63">
                  <c:v>Aprile</c:v>
                </c:pt>
                <c:pt idx="64">
                  <c:v>Maggio</c:v>
                </c:pt>
                <c:pt idx="65">
                  <c:v>Giugno</c:v>
                </c:pt>
                <c:pt idx="66">
                  <c:v>Luglio</c:v>
                </c:pt>
                <c:pt idx="67">
                  <c:v>Agosto</c:v>
                </c:pt>
                <c:pt idx="68">
                  <c:v>Settembre</c:v>
                </c:pt>
                <c:pt idx="69">
                  <c:v>Ottobre</c:v>
                </c:pt>
                <c:pt idx="70">
                  <c:v>Novembre</c:v>
                </c:pt>
                <c:pt idx="71">
                  <c:v>Dicembre</c:v>
                </c:pt>
                <c:pt idx="72">
                  <c:v>Gennaio</c:v>
                </c:pt>
                <c:pt idx="73">
                  <c:v>Febbraio</c:v>
                </c:pt>
                <c:pt idx="74">
                  <c:v>Marzo</c:v>
                </c:pt>
                <c:pt idx="75">
                  <c:v>Aprile</c:v>
                </c:pt>
                <c:pt idx="76">
                  <c:v>Maggio</c:v>
                </c:pt>
                <c:pt idx="77">
                  <c:v>Giugno</c:v>
                </c:pt>
                <c:pt idx="78">
                  <c:v>Luglio</c:v>
                </c:pt>
                <c:pt idx="79">
                  <c:v>Agosto</c:v>
                </c:pt>
                <c:pt idx="80">
                  <c:v>Settembre</c:v>
                </c:pt>
                <c:pt idx="81">
                  <c:v>Ottobre</c:v>
                </c:pt>
                <c:pt idx="82">
                  <c:v>Novembre</c:v>
                </c:pt>
                <c:pt idx="83">
                  <c:v>Dicembre</c:v>
                </c:pt>
                <c:pt idx="84">
                  <c:v>Gennaio</c:v>
                </c:pt>
                <c:pt idx="85">
                  <c:v>Febbraio</c:v>
                </c:pt>
                <c:pt idx="86">
                  <c:v>Marzo</c:v>
                </c:pt>
                <c:pt idx="87">
                  <c:v>Aprile</c:v>
                </c:pt>
                <c:pt idx="88">
                  <c:v>Maggio</c:v>
                </c:pt>
                <c:pt idx="89">
                  <c:v>Giugno</c:v>
                </c:pt>
                <c:pt idx="90">
                  <c:v>Luglio</c:v>
                </c:pt>
                <c:pt idx="91">
                  <c:v>Agosto</c:v>
                </c:pt>
                <c:pt idx="92">
                  <c:v>Settembre</c:v>
                </c:pt>
                <c:pt idx="93">
                  <c:v>Ottobre</c:v>
                </c:pt>
                <c:pt idx="94">
                  <c:v>Novembre</c:v>
                </c:pt>
                <c:pt idx="95">
                  <c:v>Dicembre</c:v>
                </c:pt>
                <c:pt idx="96">
                  <c:v>Gennaio</c:v>
                </c:pt>
                <c:pt idx="97">
                  <c:v>Febbraio</c:v>
                </c:pt>
                <c:pt idx="98">
                  <c:v>Marzo</c:v>
                </c:pt>
                <c:pt idx="99">
                  <c:v>Aprile</c:v>
                </c:pt>
                <c:pt idx="100">
                  <c:v>Maggio</c:v>
                </c:pt>
                <c:pt idx="101">
                  <c:v>Giugno</c:v>
                </c:pt>
                <c:pt idx="102">
                  <c:v>Luglio</c:v>
                </c:pt>
                <c:pt idx="103">
                  <c:v>Agosto</c:v>
                </c:pt>
                <c:pt idx="104">
                  <c:v>Settembre</c:v>
                </c:pt>
                <c:pt idx="105">
                  <c:v>Ottobre</c:v>
                </c:pt>
                <c:pt idx="106">
                  <c:v>Novembre</c:v>
                </c:pt>
                <c:pt idx="107">
                  <c:v>Dicembre</c:v>
                </c:pt>
                <c:pt idx="108">
                  <c:v>Gennaio</c:v>
                </c:pt>
                <c:pt idx="109">
                  <c:v>Febbraio</c:v>
                </c:pt>
                <c:pt idx="110">
                  <c:v>Marzo</c:v>
                </c:pt>
                <c:pt idx="111">
                  <c:v>Aprile</c:v>
                </c:pt>
                <c:pt idx="112">
                  <c:v>Maggio</c:v>
                </c:pt>
                <c:pt idx="113">
                  <c:v>Giugno</c:v>
                </c:pt>
                <c:pt idx="114">
                  <c:v>Luglio</c:v>
                </c:pt>
                <c:pt idx="115">
                  <c:v>Agosto</c:v>
                </c:pt>
                <c:pt idx="116">
                  <c:v>Settembre</c:v>
                </c:pt>
                <c:pt idx="117">
                  <c:v>Ottobre</c:v>
                </c:pt>
                <c:pt idx="118">
                  <c:v>Novembre</c:v>
                </c:pt>
                <c:pt idx="119">
                  <c:v>Dicembre</c:v>
                </c:pt>
                <c:pt idx="120">
                  <c:v>Gennaio</c:v>
                </c:pt>
                <c:pt idx="121">
                  <c:v>Febbraio</c:v>
                </c:pt>
                <c:pt idx="122">
                  <c:v>Marzo</c:v>
                </c:pt>
                <c:pt idx="123">
                  <c:v>Aprile</c:v>
                </c:pt>
                <c:pt idx="124">
                  <c:v>Maggio</c:v>
                </c:pt>
                <c:pt idx="125">
                  <c:v>Giugno</c:v>
                </c:pt>
                <c:pt idx="126">
                  <c:v>Luglio</c:v>
                </c:pt>
                <c:pt idx="127">
                  <c:v>Agosto</c:v>
                </c:pt>
                <c:pt idx="128">
                  <c:v>Settembre</c:v>
                </c:pt>
                <c:pt idx="129">
                  <c:v>Ottobre</c:v>
                </c:pt>
                <c:pt idx="130">
                  <c:v>Novembre</c:v>
                </c:pt>
                <c:pt idx="131">
                  <c:v>Dicembre</c:v>
                </c:pt>
                <c:pt idx="132">
                  <c:v>Gennaio</c:v>
                </c:pt>
                <c:pt idx="133">
                  <c:v>Febbraio</c:v>
                </c:pt>
              </c:strCache>
            </c:strRef>
          </c:cat>
          <c:val>
            <c:numRef>
              <c:f>mensile!$D$2:$D$135</c:f>
              <c:numCache>
                <c:formatCode>#,##0</c:formatCode>
                <c:ptCount val="134"/>
                <c:pt idx="0">
                  <c:v>23659</c:v>
                </c:pt>
                <c:pt idx="1">
                  <c:v>27916</c:v>
                </c:pt>
                <c:pt idx="2">
                  <c:v>38195</c:v>
                </c:pt>
                <c:pt idx="3">
                  <c:v>33986</c:v>
                </c:pt>
                <c:pt idx="4">
                  <c:v>43187</c:v>
                </c:pt>
                <c:pt idx="5">
                  <c:v>44366</c:v>
                </c:pt>
                <c:pt idx="6">
                  <c:v>31941</c:v>
                </c:pt>
                <c:pt idx="7">
                  <c:v>13240</c:v>
                </c:pt>
                <c:pt idx="8">
                  <c:v>28194</c:v>
                </c:pt>
                <c:pt idx="9">
                  <c:v>42806</c:v>
                </c:pt>
                <c:pt idx="10">
                  <c:v>40158</c:v>
                </c:pt>
                <c:pt idx="11">
                  <c:v>30806</c:v>
                </c:pt>
                <c:pt idx="12">
                  <c:v>27131</c:v>
                </c:pt>
                <c:pt idx="13">
                  <c:v>33878</c:v>
                </c:pt>
                <c:pt idx="14">
                  <c:v>37933</c:v>
                </c:pt>
                <c:pt idx="15">
                  <c:v>35399</c:v>
                </c:pt>
                <c:pt idx="16">
                  <c:v>46518</c:v>
                </c:pt>
                <c:pt idx="17">
                  <c:v>43004</c:v>
                </c:pt>
                <c:pt idx="18">
                  <c:v>30568</c:v>
                </c:pt>
                <c:pt idx="19">
                  <c:v>12154</c:v>
                </c:pt>
                <c:pt idx="20">
                  <c:v>31166</c:v>
                </c:pt>
                <c:pt idx="21">
                  <c:v>41813</c:v>
                </c:pt>
                <c:pt idx="22">
                  <c:v>35477</c:v>
                </c:pt>
                <c:pt idx="23">
                  <c:v>26918</c:v>
                </c:pt>
                <c:pt idx="24">
                  <c:v>18749</c:v>
                </c:pt>
                <c:pt idx="25">
                  <c:v>25655</c:v>
                </c:pt>
                <c:pt idx="26">
                  <c:v>34670</c:v>
                </c:pt>
                <c:pt idx="27">
                  <c:v>29170</c:v>
                </c:pt>
                <c:pt idx="28">
                  <c:v>39072</c:v>
                </c:pt>
                <c:pt idx="29">
                  <c:v>37495</c:v>
                </c:pt>
                <c:pt idx="30">
                  <c:v>27821</c:v>
                </c:pt>
                <c:pt idx="31">
                  <c:v>11961</c:v>
                </c:pt>
                <c:pt idx="32">
                  <c:v>31360</c:v>
                </c:pt>
                <c:pt idx="33">
                  <c:v>38767</c:v>
                </c:pt>
                <c:pt idx="34">
                  <c:v>42613</c:v>
                </c:pt>
                <c:pt idx="35">
                  <c:v>33516</c:v>
                </c:pt>
                <c:pt idx="36">
                  <c:v>20032</c:v>
                </c:pt>
                <c:pt idx="37">
                  <c:v>29234</c:v>
                </c:pt>
                <c:pt idx="38">
                  <c:v>39702</c:v>
                </c:pt>
                <c:pt idx="39">
                  <c:v>34320</c:v>
                </c:pt>
                <c:pt idx="40">
                  <c:v>45289</c:v>
                </c:pt>
                <c:pt idx="41">
                  <c:v>43390</c:v>
                </c:pt>
                <c:pt idx="42">
                  <c:v>28792</c:v>
                </c:pt>
                <c:pt idx="43">
                  <c:v>12421</c:v>
                </c:pt>
                <c:pt idx="44">
                  <c:v>31185</c:v>
                </c:pt>
                <c:pt idx="45">
                  <c:v>40420</c:v>
                </c:pt>
                <c:pt idx="46">
                  <c:v>42885</c:v>
                </c:pt>
                <c:pt idx="47">
                  <c:v>31786</c:v>
                </c:pt>
                <c:pt idx="48">
                  <c:v>20138</c:v>
                </c:pt>
                <c:pt idx="49">
                  <c:v>29586</c:v>
                </c:pt>
                <c:pt idx="50">
                  <c:v>34791</c:v>
                </c:pt>
                <c:pt idx="51">
                  <c:v>29973</c:v>
                </c:pt>
                <c:pt idx="52">
                  <c:v>40011</c:v>
                </c:pt>
                <c:pt idx="53">
                  <c:v>38952</c:v>
                </c:pt>
                <c:pt idx="54">
                  <c:v>31306</c:v>
                </c:pt>
                <c:pt idx="55">
                  <c:v>14388</c:v>
                </c:pt>
                <c:pt idx="56">
                  <c:v>29299</c:v>
                </c:pt>
                <c:pt idx="57">
                  <c:v>38831</c:v>
                </c:pt>
                <c:pt idx="58">
                  <c:v>34041</c:v>
                </c:pt>
                <c:pt idx="59">
                  <c:v>26880</c:v>
                </c:pt>
                <c:pt idx="60">
                  <c:v>19286</c:v>
                </c:pt>
                <c:pt idx="61">
                  <c:v>27927</c:v>
                </c:pt>
                <c:pt idx="62">
                  <c:v>33898</c:v>
                </c:pt>
                <c:pt idx="63">
                  <c:v>29992</c:v>
                </c:pt>
                <c:pt idx="64">
                  <c:v>34979</c:v>
                </c:pt>
                <c:pt idx="65">
                  <c:v>36773</c:v>
                </c:pt>
                <c:pt idx="66">
                  <c:v>27562</c:v>
                </c:pt>
                <c:pt idx="67">
                  <c:v>11027</c:v>
                </c:pt>
                <c:pt idx="68">
                  <c:v>25490</c:v>
                </c:pt>
                <c:pt idx="69">
                  <c:v>33011</c:v>
                </c:pt>
                <c:pt idx="70">
                  <c:v>26688</c:v>
                </c:pt>
                <c:pt idx="71">
                  <c:v>24057</c:v>
                </c:pt>
                <c:pt idx="72">
                  <c:v>18863</c:v>
                </c:pt>
                <c:pt idx="73">
                  <c:v>20190</c:v>
                </c:pt>
                <c:pt idx="74">
                  <c:v>26443</c:v>
                </c:pt>
                <c:pt idx="75">
                  <c:v>26276</c:v>
                </c:pt>
                <c:pt idx="76">
                  <c:v>32986</c:v>
                </c:pt>
                <c:pt idx="77">
                  <c:v>31747</c:v>
                </c:pt>
                <c:pt idx="78">
                  <c:v>26789</c:v>
                </c:pt>
                <c:pt idx="79">
                  <c:v>10189</c:v>
                </c:pt>
                <c:pt idx="80">
                  <c:v>23465</c:v>
                </c:pt>
                <c:pt idx="81">
                  <c:v>30022</c:v>
                </c:pt>
                <c:pt idx="82">
                  <c:v>30503</c:v>
                </c:pt>
                <c:pt idx="83">
                  <c:v>22497</c:v>
                </c:pt>
                <c:pt idx="84">
                  <c:v>19713</c:v>
                </c:pt>
                <c:pt idx="85">
                  <c:v>21986</c:v>
                </c:pt>
                <c:pt idx="86">
                  <c:v>27066</c:v>
                </c:pt>
                <c:pt idx="87">
                  <c:v>23506</c:v>
                </c:pt>
                <c:pt idx="88">
                  <c:v>30901</c:v>
                </c:pt>
                <c:pt idx="89">
                  <c:v>27385</c:v>
                </c:pt>
                <c:pt idx="90">
                  <c:v>23730</c:v>
                </c:pt>
                <c:pt idx="91">
                  <c:v>9897</c:v>
                </c:pt>
                <c:pt idx="92">
                  <c:v>24093</c:v>
                </c:pt>
                <c:pt idx="93" formatCode="General">
                  <c:v>30202</c:v>
                </c:pt>
                <c:pt idx="94">
                  <c:v>29939</c:v>
                </c:pt>
                <c:pt idx="95">
                  <c:v>23625</c:v>
                </c:pt>
                <c:pt idx="96" formatCode="General">
                  <c:v>19861</c:v>
                </c:pt>
                <c:pt idx="97" formatCode="General">
                  <c:v>24262</c:v>
                </c:pt>
                <c:pt idx="98" formatCode="General">
                  <c:v>29307</c:v>
                </c:pt>
                <c:pt idx="99" formatCode="General">
                  <c:v>25689</c:v>
                </c:pt>
                <c:pt idx="100">
                  <c:v>31416</c:v>
                </c:pt>
                <c:pt idx="101">
                  <c:v>32125</c:v>
                </c:pt>
                <c:pt idx="102">
                  <c:v>29615</c:v>
                </c:pt>
                <c:pt idx="103">
                  <c:v>11291</c:v>
                </c:pt>
                <c:pt idx="104">
                  <c:v>26798</c:v>
                </c:pt>
                <c:pt idx="105">
                  <c:v>33229</c:v>
                </c:pt>
                <c:pt idx="106">
                  <c:v>30972</c:v>
                </c:pt>
                <c:pt idx="107">
                  <c:v>25019</c:v>
                </c:pt>
                <c:pt idx="108">
                  <c:v>19234</c:v>
                </c:pt>
                <c:pt idx="109">
                  <c:v>25684</c:v>
                </c:pt>
                <c:pt idx="110">
                  <c:v>29780</c:v>
                </c:pt>
                <c:pt idx="111">
                  <c:v>26671</c:v>
                </c:pt>
                <c:pt idx="112">
                  <c:v>31810</c:v>
                </c:pt>
                <c:pt idx="113">
                  <c:v>30617</c:v>
                </c:pt>
                <c:pt idx="114">
                  <c:v>30419</c:v>
                </c:pt>
                <c:pt idx="115">
                  <c:v>12086</c:v>
                </c:pt>
                <c:pt idx="116">
                  <c:v>25565</c:v>
                </c:pt>
                <c:pt idx="117">
                  <c:v>32296</c:v>
                </c:pt>
                <c:pt idx="118">
                  <c:v>34072</c:v>
                </c:pt>
                <c:pt idx="119">
                  <c:v>28783</c:v>
                </c:pt>
                <c:pt idx="120">
                  <c:v>19986</c:v>
                </c:pt>
                <c:pt idx="121">
                  <c:v>24825</c:v>
                </c:pt>
                <c:pt idx="122">
                  <c:v>29755</c:v>
                </c:pt>
                <c:pt idx="123">
                  <c:v>27509</c:v>
                </c:pt>
                <c:pt idx="124">
                  <c:v>36475</c:v>
                </c:pt>
                <c:pt idx="125">
                  <c:v>33335</c:v>
                </c:pt>
                <c:pt idx="126">
                  <c:v>28882</c:v>
                </c:pt>
                <c:pt idx="127">
                  <c:v>12053</c:v>
                </c:pt>
                <c:pt idx="128">
                  <c:v>28568</c:v>
                </c:pt>
                <c:pt idx="129">
                  <c:v>37030</c:v>
                </c:pt>
                <c:pt idx="130">
                  <c:v>37126</c:v>
                </c:pt>
                <c:pt idx="131">
                  <c:v>28863</c:v>
                </c:pt>
                <c:pt idx="132">
                  <c:v>21033</c:v>
                </c:pt>
                <c:pt idx="133">
                  <c:v>26058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00126384"/>
        <c:axId val="200126776"/>
      </c:lineChart>
      <c:catAx>
        <c:axId val="200126384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spPr>
          <a:noFill/>
          <a:ln w="9525" cap="flat" cmpd="sng" algn="ctr">
            <a:solidFill>
              <a:schemeClr val="bg1">
                <a:lumMod val="5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ysClr val="windowText" lastClr="00000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200126776"/>
        <c:crosses val="autoZero"/>
        <c:auto val="1"/>
        <c:lblAlgn val="ctr"/>
        <c:lblOffset val="100"/>
        <c:noMultiLvlLbl val="0"/>
      </c:catAx>
      <c:valAx>
        <c:axId val="200126776"/>
        <c:scaling>
          <c:orientation val="minMax"/>
          <c:min val="5000"/>
        </c:scaling>
        <c:delete val="0"/>
        <c:axPos val="l"/>
        <c:majorGridlines>
          <c:spPr>
            <a:ln w="9525" cap="flat" cmpd="sng" algn="ctr">
              <a:solidFill>
                <a:schemeClr val="bg1">
                  <a:lumMod val="50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solidFill>
              <a:schemeClr val="bg1">
                <a:lumMod val="50000"/>
              </a:schemeClr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it-IT"/>
          </a:p>
        </c:txPr>
        <c:crossAx val="2001263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it-IT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6.1474211072453162E-2"/>
          <c:y val="3.2044815293610682E-2"/>
          <c:w val="0.92395959226026991"/>
          <c:h val="0.76537438790300472"/>
        </c:manualLayout>
      </c:layout>
      <c:lineChart>
        <c:grouping val="standard"/>
        <c:varyColors val="0"/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0127952"/>
        <c:axId val="200250856"/>
      </c:lineChart>
      <c:catAx>
        <c:axId val="20012795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it-IT"/>
          </a:p>
        </c:txPr>
        <c:crossAx val="200250856"/>
        <c:crosses val="autoZero"/>
        <c:auto val="1"/>
        <c:lblAlgn val="ctr"/>
        <c:lblOffset val="100"/>
        <c:noMultiLvlLbl val="0"/>
      </c:catAx>
      <c:valAx>
        <c:axId val="200250856"/>
        <c:scaling>
          <c:orientation val="minMax"/>
          <c:min val="5000"/>
        </c:scaling>
        <c:delete val="0"/>
        <c:axPos val="l"/>
        <c:majorGridlines/>
        <c:numFmt formatCode="#,##0" sourceLinked="1"/>
        <c:majorTickMark val="out"/>
        <c:minorTickMark val="none"/>
        <c:tickLblPos val="nextTo"/>
        <c:txPr>
          <a:bodyPr/>
          <a:lstStyle/>
          <a:p>
            <a:pPr>
              <a:defRPr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pPr>
            <a:endParaRPr lang="it-IT"/>
          </a:p>
        </c:txPr>
        <c:crossAx val="200127952"/>
        <c:crosses val="autoZero"/>
        <c:crossBetween val="between"/>
      </c:valAx>
      <c:spPr>
        <a:noFill/>
        <a:ln w="25400">
          <a:noFill/>
        </a:ln>
      </c:spPr>
    </c:plotArea>
    <c:plotVisOnly val="1"/>
    <c:dispBlanksAs val="gap"/>
    <c:showDLblsOverMax val="0"/>
  </c:chart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it-IT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5788627749302371E-2"/>
          <c:y val="2.9463074065136013E-2"/>
          <c:w val="0.92294778905461894"/>
          <c:h val="0.77938739744623564"/>
        </c:manualLayout>
      </c:layout>
      <c:lineChart>
        <c:grouping val="standard"/>
        <c:varyColors val="0"/>
        <c:ser>
          <c:idx val="1"/>
          <c:order val="0"/>
          <c:tx>
            <c:strRef>
              <c:f>mensile!$C$13:$C$135</c:f>
              <c:strCache>
                <c:ptCount val="123"/>
                <c:pt idx="0">
                  <c:v>Dicembre</c:v>
                </c:pt>
                <c:pt idx="1">
                  <c:v>Gennaio</c:v>
                </c:pt>
                <c:pt idx="2">
                  <c:v>Febbraio</c:v>
                </c:pt>
                <c:pt idx="3">
                  <c:v>Marzo</c:v>
                </c:pt>
                <c:pt idx="4">
                  <c:v>Aprile</c:v>
                </c:pt>
                <c:pt idx="5">
                  <c:v>Maggio</c:v>
                </c:pt>
                <c:pt idx="6">
                  <c:v>Giugno</c:v>
                </c:pt>
                <c:pt idx="7">
                  <c:v>Luglio</c:v>
                </c:pt>
                <c:pt idx="8">
                  <c:v>Agosto</c:v>
                </c:pt>
                <c:pt idx="9">
                  <c:v>Settembre</c:v>
                </c:pt>
                <c:pt idx="10">
                  <c:v>Ottobre</c:v>
                </c:pt>
                <c:pt idx="11">
                  <c:v>Novembre</c:v>
                </c:pt>
                <c:pt idx="12">
                  <c:v>Dicembre</c:v>
                </c:pt>
                <c:pt idx="13">
                  <c:v>Gennaio</c:v>
                </c:pt>
                <c:pt idx="14">
                  <c:v>Febbraio</c:v>
                </c:pt>
                <c:pt idx="15">
                  <c:v>Marzo</c:v>
                </c:pt>
                <c:pt idx="16">
                  <c:v>Aprile</c:v>
                </c:pt>
                <c:pt idx="17">
                  <c:v>Maggio</c:v>
                </c:pt>
                <c:pt idx="18">
                  <c:v>Giugno</c:v>
                </c:pt>
                <c:pt idx="19">
                  <c:v>Luglio</c:v>
                </c:pt>
                <c:pt idx="20">
                  <c:v>Agosto</c:v>
                </c:pt>
                <c:pt idx="21">
                  <c:v>Settembre</c:v>
                </c:pt>
                <c:pt idx="22">
                  <c:v>Ottobre</c:v>
                </c:pt>
                <c:pt idx="23">
                  <c:v>Novembre</c:v>
                </c:pt>
                <c:pt idx="24">
                  <c:v>Dicembre</c:v>
                </c:pt>
                <c:pt idx="25">
                  <c:v>Gennaio</c:v>
                </c:pt>
                <c:pt idx="26">
                  <c:v>Febbraio</c:v>
                </c:pt>
                <c:pt idx="27">
                  <c:v>Marzo</c:v>
                </c:pt>
                <c:pt idx="28">
                  <c:v>Aprile</c:v>
                </c:pt>
                <c:pt idx="29">
                  <c:v>Maggio</c:v>
                </c:pt>
                <c:pt idx="30">
                  <c:v>Giugno</c:v>
                </c:pt>
                <c:pt idx="31">
                  <c:v>Luglio</c:v>
                </c:pt>
                <c:pt idx="32">
                  <c:v>Agosto</c:v>
                </c:pt>
                <c:pt idx="33">
                  <c:v>Settembre</c:v>
                </c:pt>
                <c:pt idx="34">
                  <c:v>Ottobre</c:v>
                </c:pt>
                <c:pt idx="35">
                  <c:v>Novembre</c:v>
                </c:pt>
                <c:pt idx="36">
                  <c:v>Dicembre</c:v>
                </c:pt>
                <c:pt idx="37">
                  <c:v>Gennaio</c:v>
                </c:pt>
                <c:pt idx="38">
                  <c:v>Febbraio</c:v>
                </c:pt>
                <c:pt idx="39">
                  <c:v>Marzo</c:v>
                </c:pt>
                <c:pt idx="40">
                  <c:v>Aprile</c:v>
                </c:pt>
                <c:pt idx="41">
                  <c:v>Maggio</c:v>
                </c:pt>
                <c:pt idx="42">
                  <c:v>Giugno</c:v>
                </c:pt>
                <c:pt idx="43">
                  <c:v>Luglio</c:v>
                </c:pt>
                <c:pt idx="44">
                  <c:v>Agosto</c:v>
                </c:pt>
                <c:pt idx="45">
                  <c:v>Settembre</c:v>
                </c:pt>
                <c:pt idx="46">
                  <c:v>Ottobre</c:v>
                </c:pt>
                <c:pt idx="47">
                  <c:v>Novembre</c:v>
                </c:pt>
                <c:pt idx="48">
                  <c:v>Dicembre</c:v>
                </c:pt>
                <c:pt idx="49">
                  <c:v>Gennaio</c:v>
                </c:pt>
                <c:pt idx="50">
                  <c:v>Febbraio</c:v>
                </c:pt>
                <c:pt idx="51">
                  <c:v>Marzo</c:v>
                </c:pt>
                <c:pt idx="52">
                  <c:v>Aprile</c:v>
                </c:pt>
                <c:pt idx="53">
                  <c:v>Maggio</c:v>
                </c:pt>
                <c:pt idx="54">
                  <c:v>Giugno</c:v>
                </c:pt>
                <c:pt idx="55">
                  <c:v>Luglio</c:v>
                </c:pt>
                <c:pt idx="56">
                  <c:v>Agosto</c:v>
                </c:pt>
                <c:pt idx="57">
                  <c:v>Settembre</c:v>
                </c:pt>
                <c:pt idx="58">
                  <c:v>Ottobre</c:v>
                </c:pt>
                <c:pt idx="59">
                  <c:v>Novembre</c:v>
                </c:pt>
                <c:pt idx="60">
                  <c:v>Dicembre</c:v>
                </c:pt>
                <c:pt idx="61">
                  <c:v>Gennaio</c:v>
                </c:pt>
                <c:pt idx="62">
                  <c:v>Febbraio</c:v>
                </c:pt>
                <c:pt idx="63">
                  <c:v>Marzo</c:v>
                </c:pt>
                <c:pt idx="64">
                  <c:v>Aprile</c:v>
                </c:pt>
                <c:pt idx="65">
                  <c:v>Maggio</c:v>
                </c:pt>
                <c:pt idx="66">
                  <c:v>Giugno</c:v>
                </c:pt>
                <c:pt idx="67">
                  <c:v>Luglio</c:v>
                </c:pt>
                <c:pt idx="68">
                  <c:v>Agosto</c:v>
                </c:pt>
                <c:pt idx="69">
                  <c:v>Settembre</c:v>
                </c:pt>
                <c:pt idx="70">
                  <c:v>Ottobre</c:v>
                </c:pt>
                <c:pt idx="71">
                  <c:v>Novembre</c:v>
                </c:pt>
                <c:pt idx="72">
                  <c:v>Dicembre</c:v>
                </c:pt>
                <c:pt idx="73">
                  <c:v>Gennaio</c:v>
                </c:pt>
                <c:pt idx="74">
                  <c:v>Febbraio</c:v>
                </c:pt>
                <c:pt idx="75">
                  <c:v>Marzo</c:v>
                </c:pt>
                <c:pt idx="76">
                  <c:v>Aprile</c:v>
                </c:pt>
                <c:pt idx="77">
                  <c:v>Maggio</c:v>
                </c:pt>
                <c:pt idx="78">
                  <c:v>Giugno</c:v>
                </c:pt>
                <c:pt idx="79">
                  <c:v>Luglio</c:v>
                </c:pt>
                <c:pt idx="80">
                  <c:v>Agosto</c:v>
                </c:pt>
                <c:pt idx="81">
                  <c:v>Settembre</c:v>
                </c:pt>
                <c:pt idx="82">
                  <c:v>Ottobre</c:v>
                </c:pt>
                <c:pt idx="83">
                  <c:v>Novembre</c:v>
                </c:pt>
                <c:pt idx="84">
                  <c:v>Dicembre</c:v>
                </c:pt>
                <c:pt idx="85">
                  <c:v>Gennaio</c:v>
                </c:pt>
                <c:pt idx="86">
                  <c:v>Febbraio</c:v>
                </c:pt>
                <c:pt idx="87">
                  <c:v>Marzo</c:v>
                </c:pt>
                <c:pt idx="88">
                  <c:v>Aprile</c:v>
                </c:pt>
                <c:pt idx="89">
                  <c:v>Maggio</c:v>
                </c:pt>
                <c:pt idx="90">
                  <c:v>Giugno</c:v>
                </c:pt>
                <c:pt idx="91">
                  <c:v>Luglio</c:v>
                </c:pt>
                <c:pt idx="92">
                  <c:v>Agosto</c:v>
                </c:pt>
                <c:pt idx="93">
                  <c:v>Settembre</c:v>
                </c:pt>
                <c:pt idx="94">
                  <c:v>Ottobre</c:v>
                </c:pt>
                <c:pt idx="95">
                  <c:v>Novembre</c:v>
                </c:pt>
                <c:pt idx="96">
                  <c:v>Dicembre</c:v>
                </c:pt>
                <c:pt idx="97">
                  <c:v>Gennaio</c:v>
                </c:pt>
                <c:pt idx="98">
                  <c:v>Febbraio</c:v>
                </c:pt>
                <c:pt idx="99">
                  <c:v>Marzo</c:v>
                </c:pt>
                <c:pt idx="100">
                  <c:v>Aprile</c:v>
                </c:pt>
                <c:pt idx="101">
                  <c:v>Maggio</c:v>
                </c:pt>
                <c:pt idx="102">
                  <c:v>Giugno</c:v>
                </c:pt>
                <c:pt idx="103">
                  <c:v>Luglio</c:v>
                </c:pt>
                <c:pt idx="104">
                  <c:v>Agosto</c:v>
                </c:pt>
                <c:pt idx="105">
                  <c:v>Settembre</c:v>
                </c:pt>
                <c:pt idx="106">
                  <c:v>Ottobre</c:v>
                </c:pt>
                <c:pt idx="107">
                  <c:v>Novembre</c:v>
                </c:pt>
                <c:pt idx="108">
                  <c:v>Dicembre</c:v>
                </c:pt>
                <c:pt idx="109">
                  <c:v>Gennaio</c:v>
                </c:pt>
                <c:pt idx="110">
                  <c:v>Febbraio</c:v>
                </c:pt>
                <c:pt idx="111">
                  <c:v>Marzo</c:v>
                </c:pt>
                <c:pt idx="112">
                  <c:v>Aprile</c:v>
                </c:pt>
                <c:pt idx="113">
                  <c:v>Maggio</c:v>
                </c:pt>
                <c:pt idx="114">
                  <c:v>Giugno</c:v>
                </c:pt>
                <c:pt idx="115">
                  <c:v>Luglio</c:v>
                </c:pt>
                <c:pt idx="116">
                  <c:v>Agosto</c:v>
                </c:pt>
                <c:pt idx="117">
                  <c:v>Settembre</c:v>
                </c:pt>
                <c:pt idx="118">
                  <c:v>Ottobre</c:v>
                </c:pt>
                <c:pt idx="119">
                  <c:v>Novembre</c:v>
                </c:pt>
                <c:pt idx="120">
                  <c:v>Dicembre</c:v>
                </c:pt>
                <c:pt idx="121">
                  <c:v>Gennaio</c:v>
                </c:pt>
                <c:pt idx="122">
                  <c:v>Febbraio</c:v>
                </c:pt>
              </c:strCache>
            </c:strRef>
          </c:tx>
          <c:spPr>
            <a:ln>
              <a:solidFill>
                <a:schemeClr val="accent5">
                  <a:lumMod val="10000"/>
                </a:schemeClr>
              </a:solidFill>
            </a:ln>
          </c:spPr>
          <c:marker>
            <c:symbol val="square"/>
            <c:size val="4"/>
            <c:spPr>
              <a:noFill/>
              <a:ln>
                <a:noFill/>
              </a:ln>
            </c:spPr>
          </c:marker>
          <c:trendline>
            <c:spPr>
              <a:ln w="22225">
                <a:solidFill>
                  <a:srgbClr val="FFC000"/>
                </a:solidFill>
              </a:ln>
            </c:spPr>
            <c:trendlineType val="linear"/>
            <c:dispRSqr val="0"/>
            <c:dispEq val="0"/>
          </c:trendline>
          <c:cat>
            <c:strRef>
              <c:f>mensile!$C$13:$C$135</c:f>
              <c:strCache>
                <c:ptCount val="123"/>
                <c:pt idx="0">
                  <c:v>Dicembre</c:v>
                </c:pt>
                <c:pt idx="1">
                  <c:v>Gennaio</c:v>
                </c:pt>
                <c:pt idx="2">
                  <c:v>Febbraio</c:v>
                </c:pt>
                <c:pt idx="3">
                  <c:v>Marzo</c:v>
                </c:pt>
                <c:pt idx="4">
                  <c:v>Aprile</c:v>
                </c:pt>
                <c:pt idx="5">
                  <c:v>Maggio</c:v>
                </c:pt>
                <c:pt idx="6">
                  <c:v>Giugno</c:v>
                </c:pt>
                <c:pt idx="7">
                  <c:v>Luglio</c:v>
                </c:pt>
                <c:pt idx="8">
                  <c:v>Agosto</c:v>
                </c:pt>
                <c:pt idx="9">
                  <c:v>Settembre</c:v>
                </c:pt>
                <c:pt idx="10">
                  <c:v>Ottobre</c:v>
                </c:pt>
                <c:pt idx="11">
                  <c:v>Novembre</c:v>
                </c:pt>
                <c:pt idx="12">
                  <c:v>Dicembre</c:v>
                </c:pt>
                <c:pt idx="13">
                  <c:v>Gennaio</c:v>
                </c:pt>
                <c:pt idx="14">
                  <c:v>Febbraio</c:v>
                </c:pt>
                <c:pt idx="15">
                  <c:v>Marzo</c:v>
                </c:pt>
                <c:pt idx="16">
                  <c:v>Aprile</c:v>
                </c:pt>
                <c:pt idx="17">
                  <c:v>Maggio</c:v>
                </c:pt>
                <c:pt idx="18">
                  <c:v>Giugno</c:v>
                </c:pt>
                <c:pt idx="19">
                  <c:v>Luglio</c:v>
                </c:pt>
                <c:pt idx="20">
                  <c:v>Agosto</c:v>
                </c:pt>
                <c:pt idx="21">
                  <c:v>Settembre</c:v>
                </c:pt>
                <c:pt idx="22">
                  <c:v>Ottobre</c:v>
                </c:pt>
                <c:pt idx="23">
                  <c:v>Novembre</c:v>
                </c:pt>
                <c:pt idx="24">
                  <c:v>Dicembre</c:v>
                </c:pt>
                <c:pt idx="25">
                  <c:v>Gennaio</c:v>
                </c:pt>
                <c:pt idx="26">
                  <c:v>Febbraio</c:v>
                </c:pt>
                <c:pt idx="27">
                  <c:v>Marzo</c:v>
                </c:pt>
                <c:pt idx="28">
                  <c:v>Aprile</c:v>
                </c:pt>
                <c:pt idx="29">
                  <c:v>Maggio</c:v>
                </c:pt>
                <c:pt idx="30">
                  <c:v>Giugno</c:v>
                </c:pt>
                <c:pt idx="31">
                  <c:v>Luglio</c:v>
                </c:pt>
                <c:pt idx="32">
                  <c:v>Agosto</c:v>
                </c:pt>
                <c:pt idx="33">
                  <c:v>Settembre</c:v>
                </c:pt>
                <c:pt idx="34">
                  <c:v>Ottobre</c:v>
                </c:pt>
                <c:pt idx="35">
                  <c:v>Novembre</c:v>
                </c:pt>
                <c:pt idx="36">
                  <c:v>Dicembre</c:v>
                </c:pt>
                <c:pt idx="37">
                  <c:v>Gennaio</c:v>
                </c:pt>
                <c:pt idx="38">
                  <c:v>Febbraio</c:v>
                </c:pt>
                <c:pt idx="39">
                  <c:v>Marzo</c:v>
                </c:pt>
                <c:pt idx="40">
                  <c:v>Aprile</c:v>
                </c:pt>
                <c:pt idx="41">
                  <c:v>Maggio</c:v>
                </c:pt>
                <c:pt idx="42">
                  <c:v>Giugno</c:v>
                </c:pt>
                <c:pt idx="43">
                  <c:v>Luglio</c:v>
                </c:pt>
                <c:pt idx="44">
                  <c:v>Agosto</c:v>
                </c:pt>
                <c:pt idx="45">
                  <c:v>Settembre</c:v>
                </c:pt>
                <c:pt idx="46">
                  <c:v>Ottobre</c:v>
                </c:pt>
                <c:pt idx="47">
                  <c:v>Novembre</c:v>
                </c:pt>
                <c:pt idx="48">
                  <c:v>Dicembre</c:v>
                </c:pt>
                <c:pt idx="49">
                  <c:v>Gennaio</c:v>
                </c:pt>
                <c:pt idx="50">
                  <c:v>Febbraio</c:v>
                </c:pt>
                <c:pt idx="51">
                  <c:v>Marzo</c:v>
                </c:pt>
                <c:pt idx="52">
                  <c:v>Aprile</c:v>
                </c:pt>
                <c:pt idx="53">
                  <c:v>Maggio</c:v>
                </c:pt>
                <c:pt idx="54">
                  <c:v>Giugno</c:v>
                </c:pt>
                <c:pt idx="55">
                  <c:v>Luglio</c:v>
                </c:pt>
                <c:pt idx="56">
                  <c:v>Agosto</c:v>
                </c:pt>
                <c:pt idx="57">
                  <c:v>Settembre</c:v>
                </c:pt>
                <c:pt idx="58">
                  <c:v>Ottobre</c:v>
                </c:pt>
                <c:pt idx="59">
                  <c:v>Novembre</c:v>
                </c:pt>
                <c:pt idx="60">
                  <c:v>Dicembre</c:v>
                </c:pt>
                <c:pt idx="61">
                  <c:v>Gennaio</c:v>
                </c:pt>
                <c:pt idx="62">
                  <c:v>Febbraio</c:v>
                </c:pt>
                <c:pt idx="63">
                  <c:v>Marzo</c:v>
                </c:pt>
                <c:pt idx="64">
                  <c:v>Aprile</c:v>
                </c:pt>
                <c:pt idx="65">
                  <c:v>Maggio</c:v>
                </c:pt>
                <c:pt idx="66">
                  <c:v>Giugno</c:v>
                </c:pt>
                <c:pt idx="67">
                  <c:v>Luglio</c:v>
                </c:pt>
                <c:pt idx="68">
                  <c:v>Agosto</c:v>
                </c:pt>
                <c:pt idx="69">
                  <c:v>Settembre</c:v>
                </c:pt>
                <c:pt idx="70">
                  <c:v>Ottobre</c:v>
                </c:pt>
                <c:pt idx="71">
                  <c:v>Novembre</c:v>
                </c:pt>
                <c:pt idx="72">
                  <c:v>Dicembre</c:v>
                </c:pt>
                <c:pt idx="73">
                  <c:v>Gennaio</c:v>
                </c:pt>
                <c:pt idx="74">
                  <c:v>Febbraio</c:v>
                </c:pt>
                <c:pt idx="75">
                  <c:v>Marzo</c:v>
                </c:pt>
                <c:pt idx="76">
                  <c:v>Aprile</c:v>
                </c:pt>
                <c:pt idx="77">
                  <c:v>Maggio</c:v>
                </c:pt>
                <c:pt idx="78">
                  <c:v>Giugno</c:v>
                </c:pt>
                <c:pt idx="79">
                  <c:v>Luglio</c:v>
                </c:pt>
                <c:pt idx="80">
                  <c:v>Agosto</c:v>
                </c:pt>
                <c:pt idx="81">
                  <c:v>Settembre</c:v>
                </c:pt>
                <c:pt idx="82">
                  <c:v>Ottobre</c:v>
                </c:pt>
                <c:pt idx="83">
                  <c:v>Novembre</c:v>
                </c:pt>
                <c:pt idx="84">
                  <c:v>Dicembre</c:v>
                </c:pt>
                <c:pt idx="85">
                  <c:v>Gennaio</c:v>
                </c:pt>
                <c:pt idx="86">
                  <c:v>Febbraio</c:v>
                </c:pt>
                <c:pt idx="87">
                  <c:v>Marzo</c:v>
                </c:pt>
                <c:pt idx="88">
                  <c:v>Aprile</c:v>
                </c:pt>
                <c:pt idx="89">
                  <c:v>Maggio</c:v>
                </c:pt>
                <c:pt idx="90">
                  <c:v>Giugno</c:v>
                </c:pt>
                <c:pt idx="91">
                  <c:v>Luglio</c:v>
                </c:pt>
                <c:pt idx="92">
                  <c:v>Agosto</c:v>
                </c:pt>
                <c:pt idx="93">
                  <c:v>Settembre</c:v>
                </c:pt>
                <c:pt idx="94">
                  <c:v>Ottobre</c:v>
                </c:pt>
                <c:pt idx="95">
                  <c:v>Novembre</c:v>
                </c:pt>
                <c:pt idx="96">
                  <c:v>Dicembre</c:v>
                </c:pt>
                <c:pt idx="97">
                  <c:v>Gennaio</c:v>
                </c:pt>
                <c:pt idx="98">
                  <c:v>Febbraio</c:v>
                </c:pt>
                <c:pt idx="99">
                  <c:v>Marzo</c:v>
                </c:pt>
                <c:pt idx="100">
                  <c:v>Aprile</c:v>
                </c:pt>
                <c:pt idx="101">
                  <c:v>Maggio</c:v>
                </c:pt>
                <c:pt idx="102">
                  <c:v>Giugno</c:v>
                </c:pt>
                <c:pt idx="103">
                  <c:v>Luglio</c:v>
                </c:pt>
                <c:pt idx="104">
                  <c:v>Agosto</c:v>
                </c:pt>
                <c:pt idx="105">
                  <c:v>Settembre</c:v>
                </c:pt>
                <c:pt idx="106">
                  <c:v>Ottobre</c:v>
                </c:pt>
                <c:pt idx="107">
                  <c:v>Novembre</c:v>
                </c:pt>
                <c:pt idx="108">
                  <c:v>Dicembre</c:v>
                </c:pt>
                <c:pt idx="109">
                  <c:v>Gennaio</c:v>
                </c:pt>
                <c:pt idx="110">
                  <c:v>Febbraio</c:v>
                </c:pt>
                <c:pt idx="111">
                  <c:v>Marzo</c:v>
                </c:pt>
                <c:pt idx="112">
                  <c:v>Aprile</c:v>
                </c:pt>
                <c:pt idx="113">
                  <c:v>Maggio</c:v>
                </c:pt>
                <c:pt idx="114">
                  <c:v>Giugno</c:v>
                </c:pt>
                <c:pt idx="115">
                  <c:v>Luglio</c:v>
                </c:pt>
                <c:pt idx="116">
                  <c:v>Agosto</c:v>
                </c:pt>
                <c:pt idx="117">
                  <c:v>Settembre</c:v>
                </c:pt>
                <c:pt idx="118">
                  <c:v>Ottobre</c:v>
                </c:pt>
                <c:pt idx="119">
                  <c:v>Novembre</c:v>
                </c:pt>
                <c:pt idx="120">
                  <c:v>Dicembre</c:v>
                </c:pt>
                <c:pt idx="121">
                  <c:v>Gennaio</c:v>
                </c:pt>
                <c:pt idx="122">
                  <c:v>Febbraio</c:v>
                </c:pt>
              </c:strCache>
            </c:strRef>
          </c:cat>
          <c:val>
            <c:numRef>
              <c:f>mensile!$E$13:$E$135</c:f>
              <c:numCache>
                <c:formatCode>#,##0</c:formatCode>
                <c:ptCount val="123"/>
                <c:pt idx="0">
                  <c:v>33204.5</c:v>
                </c:pt>
                <c:pt idx="1">
                  <c:v>33493.833333333336</c:v>
                </c:pt>
                <c:pt idx="2">
                  <c:v>33990.666666666664</c:v>
                </c:pt>
                <c:pt idx="3">
                  <c:v>33968.833333333336</c:v>
                </c:pt>
                <c:pt idx="4">
                  <c:v>34086.583333333336</c:v>
                </c:pt>
                <c:pt idx="5">
                  <c:v>34364.166666666664</c:v>
                </c:pt>
                <c:pt idx="6">
                  <c:v>34250.666666666664</c:v>
                </c:pt>
                <c:pt idx="7">
                  <c:v>34136.25</c:v>
                </c:pt>
                <c:pt idx="8">
                  <c:v>34045.75</c:v>
                </c:pt>
                <c:pt idx="9">
                  <c:v>34293.416666666664</c:v>
                </c:pt>
                <c:pt idx="10">
                  <c:v>34210.666666666664</c:v>
                </c:pt>
                <c:pt idx="11">
                  <c:v>33820.583333333336</c:v>
                </c:pt>
                <c:pt idx="12">
                  <c:v>33496.583333333336</c:v>
                </c:pt>
                <c:pt idx="13">
                  <c:v>32798.083333333336</c:v>
                </c:pt>
                <c:pt idx="14">
                  <c:v>32112.833333333332</c:v>
                </c:pt>
                <c:pt idx="15">
                  <c:v>31840.916666666668</c:v>
                </c:pt>
                <c:pt idx="16">
                  <c:v>31321.833333333332</c:v>
                </c:pt>
                <c:pt idx="17">
                  <c:v>30701.333333333332</c:v>
                </c:pt>
                <c:pt idx="18">
                  <c:v>30242.25</c:v>
                </c:pt>
                <c:pt idx="19">
                  <c:v>30013.333333333332</c:v>
                </c:pt>
                <c:pt idx="20">
                  <c:v>29997.25</c:v>
                </c:pt>
                <c:pt idx="21">
                  <c:v>30013.416666666668</c:v>
                </c:pt>
                <c:pt idx="22">
                  <c:v>29759.583333333332</c:v>
                </c:pt>
                <c:pt idx="23">
                  <c:v>30354.25</c:v>
                </c:pt>
                <c:pt idx="24">
                  <c:v>30904.083333333332</c:v>
                </c:pt>
                <c:pt idx="25">
                  <c:v>31011</c:v>
                </c:pt>
                <c:pt idx="26">
                  <c:v>31309.25</c:v>
                </c:pt>
                <c:pt idx="27">
                  <c:v>31728.583333333332</c:v>
                </c:pt>
                <c:pt idx="28">
                  <c:v>32157.75</c:v>
                </c:pt>
                <c:pt idx="29">
                  <c:v>32675.833333333332</c:v>
                </c:pt>
                <c:pt idx="30">
                  <c:v>33167.083333333336</c:v>
                </c:pt>
                <c:pt idx="31">
                  <c:v>33248</c:v>
                </c:pt>
                <c:pt idx="32">
                  <c:v>33286.333333333336</c:v>
                </c:pt>
                <c:pt idx="33">
                  <c:v>33271.75</c:v>
                </c:pt>
                <c:pt idx="34">
                  <c:v>33409.5</c:v>
                </c:pt>
                <c:pt idx="35">
                  <c:v>33432.166666666664</c:v>
                </c:pt>
                <c:pt idx="36">
                  <c:v>33288</c:v>
                </c:pt>
                <c:pt idx="37">
                  <c:v>33296.833333333336</c:v>
                </c:pt>
                <c:pt idx="38">
                  <c:v>33326.166666666664</c:v>
                </c:pt>
                <c:pt idx="39">
                  <c:v>32916.916666666664</c:v>
                </c:pt>
                <c:pt idx="40">
                  <c:v>32554.666666666668</c:v>
                </c:pt>
                <c:pt idx="41">
                  <c:v>32114.833333333332</c:v>
                </c:pt>
                <c:pt idx="42">
                  <c:v>31745</c:v>
                </c:pt>
                <c:pt idx="43">
                  <c:v>31954.5</c:v>
                </c:pt>
                <c:pt idx="44">
                  <c:v>32118.416666666668</c:v>
                </c:pt>
                <c:pt idx="45">
                  <c:v>31961.25</c:v>
                </c:pt>
                <c:pt idx="46">
                  <c:v>31828.833333333332</c:v>
                </c:pt>
                <c:pt idx="47">
                  <c:v>31091.833333333332</c:v>
                </c:pt>
                <c:pt idx="48">
                  <c:v>30683</c:v>
                </c:pt>
                <c:pt idx="49">
                  <c:v>30612</c:v>
                </c:pt>
                <c:pt idx="50">
                  <c:v>30473.75</c:v>
                </c:pt>
                <c:pt idx="51">
                  <c:v>30399.333333333332</c:v>
                </c:pt>
                <c:pt idx="52">
                  <c:v>30400.916666666668</c:v>
                </c:pt>
                <c:pt idx="53">
                  <c:v>29981.583333333332</c:v>
                </c:pt>
                <c:pt idx="54">
                  <c:v>29800</c:v>
                </c:pt>
                <c:pt idx="55">
                  <c:v>29488</c:v>
                </c:pt>
                <c:pt idx="56">
                  <c:v>29207.916666666668</c:v>
                </c:pt>
                <c:pt idx="57">
                  <c:v>28890.5</c:v>
                </c:pt>
                <c:pt idx="58">
                  <c:v>28405.5</c:v>
                </c:pt>
                <c:pt idx="59">
                  <c:v>27792.75</c:v>
                </c:pt>
                <c:pt idx="60">
                  <c:v>27557.5</c:v>
                </c:pt>
                <c:pt idx="61">
                  <c:v>27522.25</c:v>
                </c:pt>
                <c:pt idx="62">
                  <c:v>26877.5</c:v>
                </c:pt>
                <c:pt idx="63">
                  <c:v>26256.25</c:v>
                </c:pt>
                <c:pt idx="64">
                  <c:v>25946.583333333332</c:v>
                </c:pt>
                <c:pt idx="65">
                  <c:v>25780.5</c:v>
                </c:pt>
                <c:pt idx="66">
                  <c:v>25361.666666666668</c:v>
                </c:pt>
                <c:pt idx="67">
                  <c:v>25297.25</c:v>
                </c:pt>
                <c:pt idx="68">
                  <c:v>25227.416666666668</c:v>
                </c:pt>
                <c:pt idx="69">
                  <c:v>25058.666666666668</c:v>
                </c:pt>
                <c:pt idx="70">
                  <c:v>24809.583333333332</c:v>
                </c:pt>
                <c:pt idx="71">
                  <c:v>25127.5</c:v>
                </c:pt>
                <c:pt idx="72">
                  <c:v>24997.5</c:v>
                </c:pt>
                <c:pt idx="73">
                  <c:v>25068.333333333332</c:v>
                </c:pt>
                <c:pt idx="74">
                  <c:v>25218</c:v>
                </c:pt>
                <c:pt idx="75">
                  <c:v>25269.916666666668</c:v>
                </c:pt>
                <c:pt idx="76">
                  <c:v>25039.083333333332</c:v>
                </c:pt>
                <c:pt idx="77">
                  <c:v>24865.333333333332</c:v>
                </c:pt>
                <c:pt idx="78">
                  <c:v>24501.833333333332</c:v>
                </c:pt>
                <c:pt idx="79">
                  <c:v>24246.916666666668</c:v>
                </c:pt>
                <c:pt idx="80">
                  <c:v>24222.583333333332</c:v>
                </c:pt>
                <c:pt idx="81">
                  <c:v>24274.916666666668</c:v>
                </c:pt>
                <c:pt idx="82">
                  <c:v>24289.916666666668</c:v>
                </c:pt>
                <c:pt idx="83">
                  <c:v>24242.916666666668</c:v>
                </c:pt>
                <c:pt idx="84">
                  <c:v>24336.916666666668</c:v>
                </c:pt>
                <c:pt idx="85">
                  <c:v>24349.25</c:v>
                </c:pt>
                <c:pt idx="86">
                  <c:v>24538.916666666668</c:v>
                </c:pt>
                <c:pt idx="87">
                  <c:v>24725.666666666668</c:v>
                </c:pt>
                <c:pt idx="88">
                  <c:v>24907.583333333332</c:v>
                </c:pt>
                <c:pt idx="89">
                  <c:v>24950.5</c:v>
                </c:pt>
                <c:pt idx="90">
                  <c:v>25345.5</c:v>
                </c:pt>
                <c:pt idx="91">
                  <c:v>25835.916666666668</c:v>
                </c:pt>
                <c:pt idx="92">
                  <c:v>25952.083333333332</c:v>
                </c:pt>
                <c:pt idx="93">
                  <c:v>26177.5</c:v>
                </c:pt>
                <c:pt idx="94">
                  <c:v>26429.75</c:v>
                </c:pt>
                <c:pt idx="95">
                  <c:v>26515.833333333332</c:v>
                </c:pt>
                <c:pt idx="96">
                  <c:v>26632</c:v>
                </c:pt>
                <c:pt idx="97">
                  <c:v>26579.75</c:v>
                </c:pt>
                <c:pt idx="98">
                  <c:v>26698.25</c:v>
                </c:pt>
                <c:pt idx="99">
                  <c:v>26737.666666666668</c:v>
                </c:pt>
                <c:pt idx="100">
                  <c:v>26819.5</c:v>
                </c:pt>
                <c:pt idx="101">
                  <c:v>26852.333333333332</c:v>
                </c:pt>
                <c:pt idx="102">
                  <c:v>26726.666666666668</c:v>
                </c:pt>
                <c:pt idx="103">
                  <c:v>26793.666666666668</c:v>
                </c:pt>
                <c:pt idx="104">
                  <c:v>26859.916666666668</c:v>
                </c:pt>
                <c:pt idx="105">
                  <c:v>26757.166666666668</c:v>
                </c:pt>
                <c:pt idx="106">
                  <c:v>26679.416666666668</c:v>
                </c:pt>
                <c:pt idx="107">
                  <c:v>26937.75</c:v>
                </c:pt>
                <c:pt idx="108">
                  <c:v>27251.416666666668</c:v>
                </c:pt>
                <c:pt idx="109">
                  <c:v>27314.083333333332</c:v>
                </c:pt>
                <c:pt idx="110">
                  <c:v>27242.5</c:v>
                </c:pt>
                <c:pt idx="111">
                  <c:v>27240.416666666668</c:v>
                </c:pt>
                <c:pt idx="112">
                  <c:v>27310.25</c:v>
                </c:pt>
                <c:pt idx="113">
                  <c:v>27699</c:v>
                </c:pt>
                <c:pt idx="114">
                  <c:v>27925.5</c:v>
                </c:pt>
                <c:pt idx="115">
                  <c:v>27797.416666666668</c:v>
                </c:pt>
                <c:pt idx="116">
                  <c:v>27794.666666666668</c:v>
                </c:pt>
                <c:pt idx="117">
                  <c:v>28044.916666666668</c:v>
                </c:pt>
                <c:pt idx="118">
                  <c:v>28439.416666666668</c:v>
                </c:pt>
                <c:pt idx="119">
                  <c:v>28693.916666666668</c:v>
                </c:pt>
                <c:pt idx="120">
                  <c:v>28700.583333333332</c:v>
                </c:pt>
                <c:pt idx="121">
                  <c:v>28787.833333333332</c:v>
                </c:pt>
                <c:pt idx="122">
                  <c:v>28890.583333333332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200251640"/>
        <c:axId val="200252032"/>
      </c:lineChart>
      <c:catAx>
        <c:axId val="2002516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one"/>
        <c:txPr>
          <a:bodyPr/>
          <a:lstStyle/>
          <a:p>
            <a:pPr>
              <a:defRPr sz="100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200252032"/>
        <c:crosses val="autoZero"/>
        <c:auto val="0"/>
        <c:lblAlgn val="ctr"/>
        <c:lblOffset val="100"/>
        <c:noMultiLvlLbl val="0"/>
      </c:catAx>
      <c:valAx>
        <c:axId val="200252032"/>
        <c:scaling>
          <c:orientation val="minMax"/>
          <c:min val="5000"/>
        </c:scaling>
        <c:delete val="0"/>
        <c:axPos val="l"/>
        <c:majorGridlines/>
        <c:numFmt formatCode="#,##0" sourceLinked="1"/>
        <c:majorTickMark val="none"/>
        <c:minorTickMark val="none"/>
        <c:tickLblPos val="nextTo"/>
        <c:spPr>
          <a:ln w="9525">
            <a:solidFill>
              <a:schemeClr val="bg1">
                <a:lumMod val="65000"/>
              </a:schemeClr>
            </a:solidFill>
          </a:ln>
        </c:spPr>
        <c:txPr>
          <a:bodyPr/>
          <a:lstStyle/>
          <a:p>
            <a:pPr>
              <a:defRPr sz="1000"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defRPr>
            </a:pPr>
            <a:endParaRPr lang="it-IT"/>
          </a:p>
        </c:txPr>
        <c:crossAx val="200251640"/>
        <c:crosses val="autoZero"/>
        <c:crossBetween val="between"/>
      </c:valAx>
    </c:plotArea>
    <c:plotVisOnly val="1"/>
    <c:dispBlanksAs val="gap"/>
    <c:showDLblsOverMax val="0"/>
  </c:chart>
  <c:spPr>
    <a:ln>
      <a:noFill/>
    </a:ln>
  </c:spPr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0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25000"/>
            <a:lumOff val="75000"/>
          </a:schemeClr>
        </a:solidFill>
        <a:round/>
        <a:headEnd type="none" w="sm" len="sm"/>
        <a:tailEnd type="none" w="sm" len="sm"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gradFill>
        <a:gsLst>
          <a:gs pos="0">
            <a:schemeClr val="phClr"/>
          </a:gs>
          <a:gs pos="46000">
            <a:schemeClr val="phClr"/>
          </a:gs>
          <a:gs pos="100000">
            <a:schemeClr val="phClr">
              <a:lumMod val="20000"/>
              <a:lumOff val="80000"/>
              <a:alpha val="0"/>
            </a:schemeClr>
          </a:gs>
        </a:gsLst>
        <a:path path="circle">
          <a:fillToRect l="50000" t="-80000" r="50000" b="180000"/>
        </a:path>
      </a:gradFill>
      <a:ln w="9525" cap="flat" cmpd="sng" algn="ctr">
        <a:solidFill>
          <a:schemeClr val="phClr">
            <a:shade val="95000"/>
          </a:schemeClr>
        </a:solidFill>
        <a:round/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ajor>
  <cs:gridlineMinor>
    <cs:lnRef idx="0"/>
    <cs:fillRef idx="0"/>
    <cs:effectRef idx="0"/>
    <cs:fontRef idx="minor">
      <a:schemeClr val="dk1"/>
    </cs:fontRef>
    <cs:spPr>
      <a:ln w="9525" cap="flat" cmpd="sng" algn="ctr">
        <a:gradFill>
          <a:gsLst>
            <a:gs pos="0">
              <a:schemeClr val="tx1">
                <a:lumMod val="5000"/>
                <a:lumOff val="95000"/>
              </a:schemeClr>
            </a:gs>
            <a:gs pos="100000">
              <a:schemeClr val="tx1">
                <a:lumMod val="15000"/>
                <a:lumOff val="85000"/>
              </a:schemeClr>
            </a:gs>
          </a:gsLst>
          <a:lin ang="5400000" scaled="0"/>
        </a:gradFill>
        <a:round/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  <a:headEnd type="none" w="sm" len="sm"/>
        <a:tailEnd type="none" w="sm" len="sm"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00" b="1" kern="1200" cap="all" spc="5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31">
  <cs:axisTitle>
    <cs:lnRef idx="0"/>
    <cs:fillRef idx="0"/>
    <cs:effectRef idx="0"/>
    <cs:fontRef idx="minor">
      <a:schemeClr val="tx2"/>
    </cs:fontRef>
    <cs:defRPr sz="900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2"/>
    </cs:fontRef>
    <cs:defRPr sz="900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900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1600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900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900" kern="1200"/>
  </cs:valueAxis>
  <cs:wall>
    <cs:lnRef idx="0"/>
    <cs:fillRef idx="0"/>
    <cs:effectRef idx="0"/>
    <cs:fontRef idx="minor">
      <a:schemeClr val="tx2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251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5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251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5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251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429756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251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9756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34CA06CC-DF2B-4766-BFC7-FDC658E828BC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2560417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5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5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2950"/>
            <a:ext cx="6618287" cy="37242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7" y="4714875"/>
            <a:ext cx="5438775" cy="4470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noProof="0" smtClean="0"/>
              <a:t>Fare clic per modificare gli stili del testo dello schema</a:t>
            </a:r>
          </a:p>
          <a:p>
            <a:pPr lvl="1"/>
            <a:r>
              <a:rPr lang="it-IT" noProof="0" smtClean="0"/>
              <a:t>Secondo livello</a:t>
            </a:r>
          </a:p>
          <a:p>
            <a:pPr lvl="2"/>
            <a:r>
              <a:rPr lang="it-IT" noProof="0" smtClean="0"/>
              <a:t>Terzo livello</a:t>
            </a:r>
          </a:p>
          <a:p>
            <a:pPr lvl="3"/>
            <a:r>
              <a:rPr lang="it-IT" noProof="0" smtClean="0"/>
              <a:t>Quarto livello</a:t>
            </a:r>
          </a:p>
          <a:p>
            <a:pPr lvl="4"/>
            <a:r>
              <a:rPr lang="it-IT" noProof="0" smtClean="0"/>
              <a:t>Quinto livello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429756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l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9756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482" tIns="45241" rIns="90482" bIns="45241" numCol="1" anchor="b" anchorCtr="0" compatLnSpc="1">
            <a:prstTxWarp prst="textNoShape">
              <a:avLst/>
            </a:prstTxWarp>
          </a:bodyPr>
          <a:lstStyle>
            <a:lvl1pPr algn="r">
              <a:defRPr sz="1200" b="0">
                <a:latin typeface="Arial" charset="0"/>
                <a:cs typeface="+mn-cs"/>
              </a:defRPr>
            </a:lvl1pPr>
          </a:lstStyle>
          <a:p>
            <a:pPr>
              <a:defRPr/>
            </a:pPr>
            <a:fld id="{1C1303C6-5D75-4EB5-AB33-C6E03672B972}" type="slidenum">
              <a:rPr lang="it-IT"/>
              <a:pPr>
                <a:defRPr/>
              </a:pPr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7179606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>
                <a:solidFill>
                  <a:prstClr val="black"/>
                </a:solidFill>
              </a:rPr>
              <a:pPr/>
              <a:t>1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691779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CAC7627C-DB68-9A4D-8B30-F0E92B6BDF8F}" type="slidenum">
              <a:rPr lang="it-IT" smtClean="0">
                <a:solidFill>
                  <a:prstClr val="black"/>
                </a:solidFill>
              </a:rPr>
              <a:pPr/>
              <a:t>2</a:t>
            </a:fld>
            <a:endParaRPr lang="it-IT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27759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>
          <a:xfrm>
            <a:off x="90488" y="742950"/>
            <a:ext cx="6618287" cy="3724275"/>
          </a:xfrm>
        </p:spPr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1C1303C6-5D75-4EB5-AB33-C6E03672B972}" type="slidenum">
              <a:rPr lang="it-IT" smtClean="0"/>
              <a:pPr>
                <a:defRPr/>
              </a:pPr>
              <a:t>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424960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5.png"/><Relationship Id="rId4" Type="http://schemas.openxmlformats.org/officeDocument/2006/relationships/image" Target="../media/image4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em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.emf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4-3/Grey-Reply-Gradient_Grey.png" TargetMode="External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4.emf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emf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3.png"/></Relationships>
</file>

<file path=ppt/slideLayouts/_rels/slideLayout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2.emf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1.emf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1.emf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3.png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3.png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2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anna/_LAVORI/REPLY/REPLY%20NEW%20LOGO/TEMPLATE%20COSTRUZIONE%20LOGO/PPT/2017-05-27%20Reply%20Gradients%20NEW%20FINAL/GREY/%3E%20grey/16-9/Grey-Reply-Gradient_Grey.png" TargetMode="External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11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207383598"/>
      </p:ext>
    </p:extLst>
  </p:cSld>
  <p:clrMapOvr>
    <a:masterClrMapping/>
  </p:clrMapOvr>
  <p:transition spd="med">
    <p:strips dir="rd"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736176967"/>
      </p:ext>
    </p:extLst>
  </p:cSld>
  <p:clrMapOvr>
    <a:masterClrMapping/>
  </p:clrMapOvr>
  <p:transition spd="med">
    <p:strips dir="rd"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37600" y="274638"/>
            <a:ext cx="2844800" cy="5211762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03200" y="274638"/>
            <a:ext cx="8331200" cy="52117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95779852"/>
      </p:ext>
    </p:extLst>
  </p:cSld>
  <p:clrMapOvr>
    <a:masterClrMapping/>
  </p:clrMapOvr>
  <p:transition spd="med">
    <p:strips dir="rd"/>
  </p:transition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03200" y="1371600"/>
            <a:ext cx="10363200" cy="4114800"/>
          </a:xfrm>
        </p:spPr>
        <p:txBody>
          <a:bodyPr/>
          <a:lstStyle/>
          <a:p>
            <a:pPr lvl="0"/>
            <a:endParaRPr lang="it-IT" noProof="0" smtClean="0"/>
          </a:p>
        </p:txBody>
      </p:sp>
    </p:spTree>
    <p:extLst>
      <p:ext uri="{BB962C8B-B14F-4D97-AF65-F5344CB8AC3E}">
        <p14:creationId xmlns:p14="http://schemas.microsoft.com/office/powerpoint/2010/main" val="2665872679"/>
      </p:ext>
    </p:extLst>
  </p:cSld>
  <p:clrMapOvr>
    <a:masterClrMapping/>
  </p:clrMapOvr>
  <p:transition spd="med">
    <p:strips dir="rd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278589816"/>
      </p:ext>
    </p:extLst>
  </p:cSld>
  <p:clrMapOvr>
    <a:masterClrMapping/>
  </p:clrMapOvr>
  <p:transition spd="med">
    <p:strips dir="rd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477826689"/>
      </p:ext>
    </p:extLst>
  </p:cSld>
  <p:clrMapOvr>
    <a:masterClrMapping/>
  </p:clrMapOvr>
  <p:transition spd="med">
    <p:strips dir="rd"/>
  </p:transition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79306583"/>
      </p:ext>
    </p:extLst>
  </p:cSld>
  <p:clrMapOvr>
    <a:masterClrMapping/>
  </p:clrMapOvr>
  <p:transition spd="med">
    <p:strips dir="rd"/>
  </p:transition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32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864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4450887"/>
      </p:ext>
    </p:extLst>
  </p:cSld>
  <p:clrMapOvr>
    <a:masterClrMapping/>
  </p:clrMapOvr>
  <p:transition spd="med">
    <p:strips dir="rd"/>
  </p:transition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82738116"/>
      </p:ext>
    </p:extLst>
  </p:cSld>
  <p:clrMapOvr>
    <a:masterClrMapping/>
  </p:clrMapOvr>
  <p:transition spd="med">
    <p:strips dir="rd"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317409807"/>
      </p:ext>
    </p:extLst>
  </p:cSld>
  <p:clrMapOvr>
    <a:masterClrMapping/>
  </p:clrMapOvr>
  <p:transition spd="med">
    <p:strips dir="rd"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35837974"/>
      </p:ext>
    </p:extLst>
  </p:cSld>
  <p:clrMapOvr>
    <a:masterClrMapping/>
  </p:clrMapOvr>
  <p:transition spd="med">
    <p:strips dir="rd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531459494"/>
      </p:ext>
    </p:extLst>
  </p:cSld>
  <p:clrMapOvr>
    <a:masterClrMapping/>
  </p:clrMapOvr>
  <p:transition spd="med">
    <p:strips dir="rd"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9954045"/>
      </p:ext>
    </p:extLst>
  </p:cSld>
  <p:clrMapOvr>
    <a:masterClrMapping/>
  </p:clrMapOvr>
  <p:transition spd="med">
    <p:strips dir="rd"/>
  </p:transition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60230347"/>
      </p:ext>
    </p:extLst>
  </p:cSld>
  <p:clrMapOvr>
    <a:masterClrMapping/>
  </p:clrMapOvr>
  <p:transition spd="med">
    <p:strips dir="rd"/>
  </p:transition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51677282"/>
      </p:ext>
    </p:extLst>
  </p:cSld>
  <p:clrMapOvr>
    <a:masterClrMapping/>
  </p:clrMapOvr>
  <p:transition spd="med">
    <p:strips dir="rd"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37600" y="274638"/>
            <a:ext cx="2844800" cy="5211762"/>
          </a:xfrm>
          <a:prstGeom prst="rect">
            <a:avLst/>
          </a:prstGeo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03200" y="274638"/>
            <a:ext cx="8331200" cy="5211762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81808767"/>
      </p:ext>
    </p:extLst>
  </p:cSld>
  <p:clrMapOvr>
    <a:masterClrMapping/>
  </p:clrMapOvr>
  <p:transition spd="med">
    <p:strips dir="rd"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203200" y="1371600"/>
            <a:ext cx="10363200" cy="4114800"/>
          </a:xfrm>
        </p:spPr>
        <p:txBody>
          <a:bodyPr/>
          <a:lstStyle/>
          <a:p>
            <a:pPr lvl="0"/>
            <a:endParaRPr lang="it-IT" noProof="0" smtClean="0"/>
          </a:p>
        </p:txBody>
      </p:sp>
    </p:spTree>
    <p:extLst>
      <p:ext uri="{BB962C8B-B14F-4D97-AF65-F5344CB8AC3E}">
        <p14:creationId xmlns:p14="http://schemas.microsoft.com/office/powerpoint/2010/main" val="3021146096"/>
      </p:ext>
    </p:extLst>
  </p:cSld>
  <p:clrMapOvr>
    <a:masterClrMapping/>
  </p:clrMapOvr>
  <p:transition spd="med">
    <p:strips dir="rd"/>
  </p:transition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Centr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29694" y="1006476"/>
            <a:ext cx="11128415" cy="4500563"/>
          </a:xfrm>
          <a:prstGeom prst="rect">
            <a:avLst/>
          </a:prstGeom>
        </p:spPr>
        <p:txBody>
          <a:bodyPr/>
          <a:lstStyle>
            <a:lvl1pPr marL="174625" indent="-174625">
              <a:spcAft>
                <a:spcPts val="115"/>
              </a:spcAft>
              <a:buFont typeface="Arial" pitchFamily="34" charset="0"/>
              <a:buNone/>
              <a:defRPr sz="22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66688" indent="-166688">
              <a:spcAft>
                <a:spcPts val="115"/>
              </a:spcAft>
              <a:tabLst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77800" indent="-177800">
              <a:spcAft>
                <a:spcPts val="115"/>
              </a:spcAft>
              <a:defRPr sz="18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77800" indent="-177800">
              <a:spcAft>
                <a:spcPts val="115"/>
              </a:spcAft>
              <a:buFont typeface="Arial" pitchFamily="34" charset="0"/>
              <a:buChar char="•"/>
              <a:defRPr sz="16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74625" indent="-174625">
              <a:spcAft>
                <a:spcPts val="115"/>
              </a:spcAft>
              <a:buFont typeface="Arial" pitchFamily="34" charset="0"/>
              <a:buNone/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8" name="Titolo 1"/>
          <p:cNvSpPr>
            <a:spLocks noGrp="1"/>
          </p:cNvSpPr>
          <p:nvPr>
            <p:ph type="title" hasCustomPrompt="1"/>
          </p:nvPr>
        </p:nvSpPr>
        <p:spPr>
          <a:xfrm>
            <a:off x="629693" y="249387"/>
            <a:ext cx="11148321" cy="583127"/>
          </a:xfrm>
          <a:prstGeom prst="rect">
            <a:avLst/>
          </a:prstGeom>
        </p:spPr>
        <p:txBody>
          <a:bodyPr/>
          <a:lstStyle>
            <a:lvl1pPr>
              <a:defRPr sz="2800" b="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 smtClean="0"/>
              <a:t>Click to edit Master text styles</a:t>
            </a:r>
            <a:endParaRPr lang="it-IT" dirty="0"/>
          </a:p>
        </p:txBody>
      </p:sp>
      <p:pic>
        <p:nvPicPr>
          <p:cNvPr id="2050" name="Picture 2" descr="C:\MARKETING\PROGETTI\PPT REPLY TEMPLATE\elements\omini tutti colori 3d\green\reply_3d.png"/>
          <p:cNvPicPr>
            <a:picLocks noChangeAspect="1" noChangeArrowheads="1"/>
          </p:cNvPicPr>
          <p:nvPr/>
        </p:nvPicPr>
        <p:blipFill>
          <a:blip r:embed="rId2"/>
          <a:stretch>
            <a:fillRect/>
          </a:stretch>
        </p:blipFill>
        <p:spPr bwMode="auto">
          <a:xfrm>
            <a:off x="11103710" y="6039136"/>
            <a:ext cx="885377" cy="719138"/>
          </a:xfrm>
          <a:prstGeom prst="rect">
            <a:avLst/>
          </a:prstGeom>
          <a:noFill/>
        </p:spPr>
      </p:pic>
      <p:sp>
        <p:nvSpPr>
          <p:cNvPr id="5" name="TextBox 4"/>
          <p:cNvSpPr txBox="1"/>
          <p:nvPr userDrawn="1"/>
        </p:nvSpPr>
        <p:spPr>
          <a:xfrm>
            <a:off x="218902" y="6283327"/>
            <a:ext cx="521845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83005305-56AA-41FB-8E52-9E09D388040D}" type="slidenum">
              <a:rPr lang="it-IT" sz="1000" smtClean="0">
                <a:solidFill>
                  <a:srgbClr val="000000"/>
                </a:solidFill>
              </a:rPr>
              <a:pPr algn="r"/>
              <a:t>‹N›</a:t>
            </a:fld>
            <a:endParaRPr lang="it-IT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3762301"/>
      </p:ext>
    </p:extLst>
  </p:cSld>
  <p:clrMapOvr>
    <a:masterClrMapping/>
  </p:clrMapOvr>
  <p:transition spd="med">
    <p:wipe dir="r"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magine 10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8" y="1065749"/>
            <a:ext cx="10114148" cy="3216228"/>
          </a:xfrm>
        </p:spPr>
        <p:txBody>
          <a:bodyPr anchor="b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90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1800" b="0" cap="none">
                <a:solidFill>
                  <a:schemeClr val="bg1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0949" y="6331379"/>
            <a:ext cx="1379035" cy="323421"/>
          </a:xfrm>
          <a:prstGeom prst="rect">
            <a:avLst/>
          </a:prstGeom>
        </p:spPr>
      </p:pic>
      <p:pic>
        <p:nvPicPr>
          <p:cNvPr id="6" name="Immagine 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5952" y="304364"/>
            <a:ext cx="3594826" cy="18830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24060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kt 1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3" name="think-cell Folie" r:id="rId4" imgW="351" imgH="351" progId="TCLayout.ActiveDocument.1">
                  <p:embed/>
                </p:oleObj>
              </mc:Choice>
              <mc:Fallback>
                <p:oleObj name="think-cell Folie" r:id="rId4" imgW="351" imgH="351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804331" y="1941404"/>
            <a:ext cx="10583335" cy="2462213"/>
          </a:xfrm>
        </p:spPr>
        <p:txBody>
          <a:bodyPr/>
          <a:lstStyle>
            <a:lvl1pPr marL="500063" indent="-500063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982663" indent="-490538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431925" indent="-450850">
              <a:spcBef>
                <a:spcPts val="12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1600">
                <a:solidFill>
                  <a:schemeClr val="tx1"/>
                </a:solidFill>
              </a:defRPr>
            </a:lvl3pPr>
            <a:lvl4pPr marL="1371600" indent="-342900">
              <a:buFont typeface="+mj-lt"/>
              <a:buAutoNum type="arabicPeriod"/>
              <a:defRPr/>
            </a:lvl4pPr>
            <a:lvl5pPr marL="1714500" indent="-342900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24260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3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60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sECTION</a:t>
            </a:r>
            <a:r>
              <a:rPr lang="it-IT" dirty="0" smtClean="0"/>
              <a:t/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5530159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3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5400" i="0" u="none" kern="1200" cap="all" spc="-100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964858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7363151"/>
      </p:ext>
    </p:extLst>
  </p:cSld>
  <p:clrMapOvr>
    <a:masterClrMapping/>
  </p:clrMapOvr>
  <p:transition spd="med">
    <p:strips dir="rd"/>
  </p:transition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988865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1"/>
            <a:ext cx="12192000" cy="6855363"/>
          </a:xfrm>
          <a:prstGeom prst="rect">
            <a:avLst/>
          </a:prstGeom>
        </p:spPr>
      </p:pic>
      <p:sp>
        <p:nvSpPr>
          <p:cNvPr id="7" name="Rechteck 6"/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54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4693995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r="11734" b="477"/>
          <a:stretch/>
        </p:blipFill>
        <p:spPr>
          <a:xfrm>
            <a:off x="-1" y="0"/>
            <a:ext cx="12192000" cy="6858000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2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800" b="0">
              <a:solidFill>
                <a:srgbClr val="000000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820832"/>
            <a:ext cx="10109631" cy="1216336"/>
          </a:xfrm>
        </p:spPr>
        <p:txBody>
          <a:bodyPr anchor="ctr"/>
          <a:lstStyle>
            <a:lvl1pPr>
              <a:lnSpc>
                <a:spcPct val="100000"/>
              </a:lnSpc>
              <a:defRPr lang="en-US" sz="6000" i="0" u="none" kern="1200" cap="all" spc="-100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chapte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  <p:sp>
        <p:nvSpPr>
          <p:cNvPr id="1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46658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0486927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5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50304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8" y="1705891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 sz="1800"/>
            </a:lvl1pPr>
            <a:lvl2pPr>
              <a:lnSpc>
                <a:spcPct val="100000"/>
              </a:lnSpc>
              <a:defRPr sz="1800"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 marL="180000" indent="-180000">
              <a:buClr>
                <a:schemeClr val="tx2"/>
              </a:buClr>
              <a:buFont typeface="Wingdings" panose="05000000000000000000" pitchFamily="2" charset="2"/>
              <a:buChar char="§"/>
              <a:defRPr sz="1800"/>
            </a:lvl4pPr>
            <a:lvl5pPr marL="360000" indent="-180000">
              <a:buFont typeface="Wingdings" panose="05000000000000000000" pitchFamily="2" charset="2"/>
              <a:buChar char="§"/>
              <a:defRPr sz="1800"/>
            </a:lvl5pPr>
            <a:lvl6pPr marL="540000" indent="-180000">
              <a:buFont typeface="Wingdings" panose="05000000000000000000" pitchFamily="2" charset="2"/>
              <a:buChar char="§"/>
              <a:defRPr sz="1700"/>
            </a:lvl6pPr>
            <a:lvl7pPr>
              <a:buClr>
                <a:schemeClr val="tx2"/>
              </a:buClr>
              <a:buAutoNum type="arabicPeriod"/>
              <a:defRPr sz="1800"/>
            </a:lvl7pPr>
            <a:lvl8pPr>
              <a:buAutoNum type="arabicPeriod"/>
              <a:defRPr sz="1800"/>
            </a:lvl8pPr>
            <a:lvl9pPr>
              <a:defRPr sz="17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1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6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0792947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711713"/>
            <a:ext cx="5244792" cy="4049711"/>
          </a:xfrm>
        </p:spPr>
        <p:txBody>
          <a:bodyPr/>
          <a:lstStyle>
            <a:lvl1pPr>
              <a:defRPr sz="1700"/>
            </a:lvl1pPr>
            <a:lvl2pPr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144561" y="1711713"/>
            <a:ext cx="5244792" cy="4049711"/>
          </a:xfrm>
        </p:spPr>
        <p:txBody>
          <a:bodyPr/>
          <a:lstStyle>
            <a:lvl1pPr>
              <a:defRPr sz="17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700"/>
            </a:lvl2pPr>
            <a:lvl3pPr>
              <a:defRPr sz="1700"/>
            </a:lvl3pPr>
            <a:lvl4pPr>
              <a:defRPr sz="1700"/>
            </a:lvl4pPr>
            <a:lvl5pPr>
              <a:defRPr sz="1700"/>
            </a:lvl5pPr>
            <a:lvl6pPr>
              <a:defRPr sz="1600"/>
            </a:lvl6pPr>
            <a:lvl7pPr>
              <a:defRPr sz="1700"/>
            </a:lvl7pPr>
            <a:lvl8pPr>
              <a:defRPr sz="1700"/>
            </a:lvl8pPr>
            <a:lvl9pPr>
              <a:defRPr sz="16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965326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0076" y="6376789"/>
            <a:ext cx="290043" cy="217532"/>
          </a:xfrm>
          <a:prstGeom prst="rect">
            <a:avLst/>
          </a:prstGeom>
        </p:spPr>
      </p:pic>
      <p:sp>
        <p:nvSpPr>
          <p:cNvPr id="13" name="Rettangolo 7"/>
          <p:cNvSpPr/>
          <p:nvPr userDrawn="1"/>
        </p:nvSpPr>
        <p:spPr>
          <a:xfrm>
            <a:off x="1" y="5175334"/>
            <a:ext cx="12192000" cy="168515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1800" b="0">
              <a:solidFill>
                <a:srgbClr val="000000"/>
              </a:solidFill>
            </a:endParaRPr>
          </a:p>
        </p:txBody>
      </p:sp>
      <p:pic>
        <p:nvPicPr>
          <p:cNvPr id="14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  <p:sp>
        <p:nvSpPr>
          <p:cNvPr id="12" name="Rettangolo 6"/>
          <p:cNvSpPr/>
          <p:nvPr userDrawn="1"/>
        </p:nvSpPr>
        <p:spPr>
          <a:xfrm>
            <a:off x="0" y="1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1800" b="0">
              <a:solidFill>
                <a:srgbClr val="000000"/>
              </a:solidFill>
            </a:endParaRPr>
          </a:p>
        </p:txBody>
      </p:sp>
      <p:sp>
        <p:nvSpPr>
          <p:cNvPr id="15" name="Rettangolo 6"/>
          <p:cNvSpPr/>
          <p:nvPr userDrawn="1"/>
        </p:nvSpPr>
        <p:spPr>
          <a:xfrm>
            <a:off x="0" y="0"/>
            <a:ext cx="12192000" cy="1249136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1800" b="0">
              <a:solidFill>
                <a:srgbClr val="000000"/>
              </a:solidFill>
            </a:endParaRPr>
          </a:p>
        </p:txBody>
      </p:sp>
      <p:sp>
        <p:nvSpPr>
          <p:cNvPr id="16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250542"/>
            <a:ext cx="12192000" cy="2629091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17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1633838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711713"/>
            <a:ext cx="3992717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4" y="1684196"/>
            <a:ext cx="6824548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/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143374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711713"/>
            <a:ext cx="3992717" cy="4049711"/>
          </a:xfrm>
        </p:spPr>
        <p:txBody>
          <a:bodyPr/>
          <a:lstStyle>
            <a:lvl1pPr>
              <a:defRPr sz="1800"/>
            </a:lvl1pPr>
            <a:lvl2pPr marL="0" marR="0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marL="0" marR="0" lvl="1" indent="0" algn="l" defTabSz="914400" rtl="0" eaLnBrk="1" fontAlgn="auto" latinLnBrk="0" hangingPunct="1">
              <a:lnSpc>
                <a:spcPct val="120000"/>
              </a:lnSpc>
              <a:spcBef>
                <a:spcPts val="1200"/>
              </a:spcBef>
              <a:spcAft>
                <a:spcPts val="60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64216" y="1784079"/>
            <a:ext cx="6842651" cy="3848991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58096" y="3286397"/>
            <a:ext cx="6155715" cy="825759"/>
          </a:xfrm>
        </p:spPr>
        <p:txBody>
          <a:bodyPr anchor="t"/>
          <a:lstStyle>
            <a:lvl1pPr>
              <a:defRPr sz="5400" cap="all" spc="-100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4000">
                <a:latin typeface="Arial Black"/>
                <a:cs typeface="Arial Black"/>
              </a:defRPr>
            </a:lvl2pPr>
            <a:lvl3pPr>
              <a:defRPr sz="4000">
                <a:latin typeface="Arial Black"/>
                <a:cs typeface="Arial Black"/>
              </a:defRPr>
            </a:lvl3pPr>
            <a:lvl4pPr>
              <a:defRPr sz="4000">
                <a:latin typeface="Arial Black"/>
                <a:cs typeface="Arial Black"/>
              </a:defRPr>
            </a:lvl4pPr>
            <a:lvl5pPr>
              <a:defRPr sz="4000">
                <a:latin typeface="Arial Black"/>
                <a:cs typeface="Arial Black"/>
              </a:defRPr>
            </a:lvl5pPr>
            <a:lvl6pPr>
              <a:defRPr sz="4000">
                <a:latin typeface="Arial Black"/>
                <a:cs typeface="Arial Black"/>
              </a:defRPr>
            </a:lvl6pPr>
            <a:lvl7pPr>
              <a:defRPr sz="4000">
                <a:latin typeface="Arial Black"/>
                <a:cs typeface="Arial Black"/>
              </a:defRPr>
            </a:lvl7pPr>
            <a:lvl8pPr>
              <a:defRPr sz="4000">
                <a:latin typeface="Arial Black"/>
                <a:cs typeface="Arial Black"/>
              </a:defRPr>
            </a:lvl8pPr>
            <a:lvl9pPr>
              <a:defRPr sz="4000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BIG 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58096" y="2203166"/>
            <a:ext cx="6155715" cy="426875"/>
          </a:xfrm>
        </p:spPr>
        <p:txBody>
          <a:bodyPr/>
          <a:lstStyle>
            <a:lvl1pPr>
              <a:defRPr sz="1800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400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400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400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400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400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400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400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765138" y="544257"/>
            <a:ext cx="10624217" cy="355281"/>
          </a:xfrm>
        </p:spPr>
        <p:txBody>
          <a:bodyPr tIns="0" rIns="0" anchor="t" anchorCtr="0"/>
          <a:lstStyle>
            <a:lvl1pPr>
              <a:defRPr sz="3200" cap="all" baseline="0"/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8" y="917354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1600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0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059946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2852034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32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86400" y="1371600"/>
            <a:ext cx="5080000" cy="4114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24006452"/>
      </p:ext>
    </p:extLst>
  </p:cSld>
  <p:clrMapOvr>
    <a:masterClrMapping/>
  </p:clrMapOvr>
  <p:transition spd="med">
    <p:strips dir="rd"/>
  </p:transition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Immagine 5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877954"/>
            <a:ext cx="9337920" cy="1564614"/>
          </a:xfrm>
        </p:spPr>
        <p:txBody>
          <a:bodyPr anchor="ctr"/>
          <a:lstStyle>
            <a:lvl1pPr>
              <a:lnSpc>
                <a:spcPct val="80000"/>
              </a:lnSpc>
              <a:defRPr lang="en-US" sz="6000" i="0" u="none" kern="1200" cap="all" spc="-10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5" y="4501190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18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Immagin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00640" y="6319707"/>
            <a:ext cx="1379035" cy="3234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8407259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0051887"/>
      </p:ext>
    </p:extLst>
  </p:cSld>
  <p:clrMapOvr>
    <a:masterClrMapping/>
  </p:clrMapOvr>
  <p:transition spd="med">
    <p:strips dir="rd"/>
  </p:transition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7" y="1065749"/>
            <a:ext cx="10114148" cy="3216228"/>
          </a:xfrm>
        </p:spPr>
        <p:txBody>
          <a:bodyPr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80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89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61547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0"/>
          </p:nvPr>
        </p:nvSpPr>
        <p:spPr>
          <a:xfrm>
            <a:off x="804331" y="2126523"/>
            <a:ext cx="10583335" cy="3282951"/>
          </a:xfrm>
        </p:spPr>
        <p:txBody>
          <a:bodyPr/>
          <a:lstStyle>
            <a:lvl1pPr marL="666734" indent="-6667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1310185" indent="-6540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909186" indent="-601118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2133">
                <a:solidFill>
                  <a:schemeClr val="tx1"/>
                </a:solidFill>
              </a:defRPr>
            </a:lvl3pPr>
            <a:lvl4pPr marL="1828754" indent="-457189">
              <a:buFont typeface="+mj-lt"/>
              <a:buAutoNum type="arabicPeriod"/>
              <a:defRPr/>
            </a:lvl4pPr>
            <a:lvl5pPr marL="2285943" indent="-457189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7713733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SECTION </a:t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700854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72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31185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8120814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9"/>
          <p:cNvPicPr>
            <a:picLocks noChangeAspect="1"/>
          </p:cNvPicPr>
          <p:nvPr userDrawn="1"/>
        </p:nvPicPr>
        <p:blipFill rotWithShape="1">
          <a:blip r:embed="rId2"/>
          <a:srcRect t="-114" b="24638"/>
          <a:stretch/>
        </p:blipFill>
        <p:spPr>
          <a:xfrm>
            <a:off x="0" y="-10332"/>
            <a:ext cx="12192000" cy="6898813"/>
          </a:xfrm>
          <a:prstGeom prst="rect">
            <a:avLst/>
          </a:prstGeom>
        </p:spPr>
      </p:pic>
      <p:sp>
        <p:nvSpPr>
          <p:cNvPr id="8" name="Rechteck 6"/>
          <p:cNvSpPr/>
          <p:nvPr userDrawn="1"/>
        </p:nvSpPr>
        <p:spPr>
          <a:xfrm>
            <a:off x="0" y="1"/>
            <a:ext cx="12192000" cy="6888480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602591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t="-1" r="11734" b="25474"/>
          <a:stretch/>
        </p:blipFill>
        <p:spPr>
          <a:xfrm>
            <a:off x="-1" y="0"/>
            <a:ext cx="12192000" cy="6847368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-13124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80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24146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08273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139414115"/>
      </p:ext>
    </p:extLst>
  </p:cSld>
  <p:clrMapOvr>
    <a:masterClrMapping/>
  </p:clrMapOvr>
  <p:transition spd="med">
    <p:strips dir="rd"/>
  </p:transition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7" y="1869268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/>
            </a:lvl4pPr>
            <a:lvl6pPr>
              <a:defRPr sz="2267"/>
            </a:lvl6pPr>
            <a:lvl7pPr marL="239994" indent="-239994">
              <a:buClr>
                <a:schemeClr val="tx2"/>
              </a:buClr>
              <a:buAutoNum type="arabicPeriod"/>
              <a:defRPr lang="it-IT" sz="2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>
              <a:buAutoNum type="arabicPeriod"/>
              <a:defRPr/>
            </a:lvl8pPr>
            <a:lvl9pPr>
              <a:defRPr sz="22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marL="685783" lvl="6" indent="-685783" algn="l" defTabSz="609585" rtl="0" eaLnBrk="1" latinLnBrk="0" hangingPunct="1">
              <a:lnSpc>
                <a:spcPct val="150000"/>
              </a:lnSpc>
              <a:spcBef>
                <a:spcPts val="800"/>
              </a:spcBef>
              <a:buClr>
                <a:schemeClr val="tx2"/>
              </a:buClr>
              <a:buSzPct val="130000"/>
              <a:buFont typeface="+mj-lt"/>
              <a:buAutoNum type="arabicPeriod"/>
            </a:pPr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0025406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916869"/>
            <a:ext cx="5087024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673" y="1916869"/>
            <a:ext cx="5113681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55949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6"/>
          <p:cNvSpPr/>
          <p:nvPr userDrawn="1"/>
        </p:nvSpPr>
        <p:spPr>
          <a:xfrm>
            <a:off x="0" y="0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667389"/>
            <a:ext cx="12192000" cy="3505455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Rettangolo 7"/>
          <p:cNvSpPr/>
          <p:nvPr userDrawn="1"/>
        </p:nvSpPr>
        <p:spPr>
          <a:xfrm>
            <a:off x="0" y="5172843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201095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3" y="1889351"/>
            <a:ext cx="6824547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29652397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527" y="1995754"/>
            <a:ext cx="6819472" cy="3835953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03653" y="3811650"/>
            <a:ext cx="6155715" cy="825759"/>
          </a:xfrm>
        </p:spPr>
        <p:txBody>
          <a:bodyPr anchor="t"/>
          <a:lstStyle>
            <a:lvl1pPr>
              <a:defRPr sz="5333" cap="all" spc="-133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5333">
                <a:latin typeface="Arial Black"/>
                <a:cs typeface="Arial Black"/>
              </a:defRPr>
            </a:lvl2pPr>
            <a:lvl3pPr>
              <a:defRPr sz="5333">
                <a:latin typeface="Arial Black"/>
                <a:cs typeface="Arial Black"/>
              </a:defRPr>
            </a:lvl3pPr>
            <a:lvl4pPr>
              <a:defRPr sz="5333">
                <a:latin typeface="Arial Black"/>
                <a:cs typeface="Arial Black"/>
              </a:defRPr>
            </a:lvl4pPr>
            <a:lvl5pPr>
              <a:defRPr sz="5333">
                <a:latin typeface="Arial Black"/>
                <a:cs typeface="Arial Black"/>
              </a:defRPr>
            </a:lvl5pPr>
            <a:lvl6pPr>
              <a:defRPr sz="5333">
                <a:latin typeface="Arial Black"/>
                <a:cs typeface="Arial Black"/>
              </a:defRPr>
            </a:lvl6pPr>
            <a:lvl7pPr>
              <a:defRPr sz="5333">
                <a:latin typeface="Arial Black"/>
                <a:cs typeface="Arial Black"/>
              </a:defRPr>
            </a:lvl7pPr>
            <a:lvl8pPr>
              <a:defRPr sz="5333">
                <a:latin typeface="Arial Black"/>
                <a:cs typeface="Arial Black"/>
              </a:defRPr>
            </a:lvl8pPr>
            <a:lvl9pPr>
              <a:defRPr sz="5333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03653" y="2537359"/>
            <a:ext cx="6155715" cy="426875"/>
          </a:xfrm>
        </p:spPr>
        <p:txBody>
          <a:bodyPr/>
          <a:lstStyle>
            <a:lvl1pPr>
              <a:defRPr sz="2133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867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867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867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867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867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867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867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867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7749208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8414219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680306"/>
            <a:ext cx="9337920" cy="1762263"/>
          </a:xfrm>
        </p:spPr>
        <p:txBody>
          <a:bodyPr anchor="ctr"/>
          <a:lstStyle>
            <a:lvl1pPr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4" y="4501189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4238991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esentation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magine 8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65137" y="1065749"/>
            <a:ext cx="10114148" cy="3216228"/>
          </a:xfrm>
        </p:spPr>
        <p:txBody>
          <a:bodyPr anchor="b"/>
          <a:lstStyle>
            <a:lvl1pPr algn="l" defTabSz="121917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it-IT" sz="8000" i="0" u="none" kern="1200" cap="all" spc="-133" dirty="0" smtClean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INSERT YOUR</a:t>
            </a:r>
            <a:br>
              <a:rPr lang="it-IT" dirty="0" smtClean="0"/>
            </a:br>
            <a:r>
              <a:rPr lang="it-IT" dirty="0" smtClean="0"/>
              <a:t>TITLE HERE</a:t>
            </a:r>
            <a:endParaRPr lang="en-US" dirty="0"/>
          </a:p>
        </p:txBody>
      </p:sp>
      <p:sp>
        <p:nvSpPr>
          <p:cNvPr id="12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6" y="4501189"/>
            <a:ext cx="10114149" cy="438427"/>
          </a:xfrm>
        </p:spPr>
        <p:txBody>
          <a:bodyPr lIns="0" bIns="0" anchor="t">
            <a:noAutofit/>
          </a:bodyPr>
          <a:lstStyle>
            <a:lvl1pPr marL="0" indent="0" algn="l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Immagine 6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34541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eting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6" name="Inhaltsplatzhalter 2"/>
          <p:cNvSpPr>
            <a:spLocks noGrp="1"/>
          </p:cNvSpPr>
          <p:nvPr>
            <p:ph idx="10"/>
          </p:nvPr>
        </p:nvSpPr>
        <p:spPr>
          <a:xfrm>
            <a:off x="804331" y="2126523"/>
            <a:ext cx="10583335" cy="3282951"/>
          </a:xfrm>
        </p:spPr>
        <p:txBody>
          <a:bodyPr/>
          <a:lstStyle>
            <a:lvl1pPr marL="666734" indent="-6667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/>
            </a:lvl1pPr>
            <a:lvl2pPr marL="1310185" indent="-654034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cap="none">
                <a:solidFill>
                  <a:schemeClr val="tx1"/>
                </a:solidFill>
              </a:defRPr>
            </a:lvl2pPr>
            <a:lvl3pPr marL="1909186" indent="-601118">
              <a:spcBef>
                <a:spcPts val="1600"/>
              </a:spcBef>
              <a:buClr>
                <a:schemeClr val="accent2"/>
              </a:buClr>
              <a:buSzPct val="100000"/>
              <a:buFont typeface="+mj-lt"/>
              <a:buAutoNum type="arabicPlain"/>
              <a:tabLst/>
              <a:defRPr sz="2133">
                <a:solidFill>
                  <a:schemeClr val="tx1"/>
                </a:solidFill>
              </a:defRPr>
            </a:lvl3pPr>
            <a:lvl4pPr marL="1828754" indent="-457189">
              <a:buFont typeface="+mj-lt"/>
              <a:buAutoNum type="arabicPeriod"/>
              <a:defRPr/>
            </a:lvl4pPr>
            <a:lvl5pPr marL="2285943" indent="-457189">
              <a:buFont typeface="+mj-lt"/>
              <a:buAutoNum type="arabicPeriod"/>
              <a:defRPr/>
            </a:lvl5pPr>
          </a:lstStyle>
          <a:p>
            <a:pPr lvl="0"/>
            <a:r>
              <a:rPr lang="it-IT" smtClean="0"/>
              <a:t>Fare clic per modificare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2910288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pter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magine 6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b"/>
          <a:lstStyle>
            <a:lvl1pPr algn="ctr"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smtClean="0"/>
              <a:t>SECTION </a:t>
            </a:r>
            <a:br>
              <a:rPr lang="it-IT" dirty="0" smtClean="0"/>
            </a:br>
            <a:r>
              <a:rPr lang="it-IT" dirty="0" smtClean="0"/>
              <a:t>SLIDE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06186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974929287"/>
      </p:ext>
    </p:extLst>
  </p:cSld>
  <p:clrMapOvr>
    <a:masterClrMapping/>
  </p:clrMapOvr>
  <p:transition spd="med">
    <p:strips dir="rd"/>
  </p:transition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atement Cover Op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magine 4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6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1828912"/>
            <a:ext cx="10109631" cy="2175229"/>
          </a:xfrm>
        </p:spPr>
        <p:txBody>
          <a:bodyPr anchor="t"/>
          <a:lstStyle>
            <a:lvl1pPr algn="ctr">
              <a:lnSpc>
                <a:spcPct val="80000"/>
              </a:lnSpc>
              <a:defRPr lang="en-US" sz="72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de-DE" dirty="0" smtClean="0"/>
              <a:t>STATEMENT </a:t>
            </a:r>
            <a:br>
              <a:rPr lang="de-DE" dirty="0" smtClean="0"/>
            </a:br>
            <a:r>
              <a:rPr lang="de-DE" dirty="0" smtClean="0"/>
              <a:t>CHART FOR IMPORTANT </a:t>
            </a:r>
            <a:br>
              <a:rPr lang="de-DE" dirty="0" smtClean="0"/>
            </a:br>
            <a:r>
              <a:rPr lang="de-DE" dirty="0" smtClean="0"/>
              <a:t>POINTS</a:t>
            </a:r>
            <a:endParaRPr lang="en-US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6951153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038854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with Background IM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 9"/>
          <p:cNvPicPr>
            <a:picLocks noChangeAspect="1"/>
          </p:cNvPicPr>
          <p:nvPr userDrawn="1"/>
        </p:nvPicPr>
        <p:blipFill rotWithShape="1">
          <a:blip r:embed="rId2"/>
          <a:srcRect t="-114" b="24638"/>
          <a:stretch/>
        </p:blipFill>
        <p:spPr>
          <a:xfrm>
            <a:off x="0" y="-10332"/>
            <a:ext cx="12192000" cy="6898813"/>
          </a:xfrm>
          <a:prstGeom prst="rect">
            <a:avLst/>
          </a:prstGeom>
        </p:spPr>
      </p:pic>
      <p:sp>
        <p:nvSpPr>
          <p:cNvPr id="8" name="Rechteck 6"/>
          <p:cNvSpPr/>
          <p:nvPr userDrawn="1"/>
        </p:nvSpPr>
        <p:spPr>
          <a:xfrm>
            <a:off x="0" y="1"/>
            <a:ext cx="12192000" cy="6888480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72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657575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screen image +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fik 11"/>
          <p:cNvPicPr>
            <a:picLocks noChangeAspect="1"/>
          </p:cNvPicPr>
          <p:nvPr userDrawn="1"/>
        </p:nvPicPr>
        <p:blipFill rotWithShape="1">
          <a:blip r:embed="rId2"/>
          <a:srcRect t="-1" r="11734" b="25474"/>
          <a:stretch/>
        </p:blipFill>
        <p:spPr>
          <a:xfrm>
            <a:off x="-1" y="0"/>
            <a:ext cx="12192000" cy="6847368"/>
          </a:xfrm>
          <a:custGeom>
            <a:avLst/>
            <a:gdLst>
              <a:gd name="connsiteX0" fmla="*/ 0 w 9144000"/>
              <a:gd name="connsiteY0" fmla="*/ 0 h 6858000"/>
              <a:gd name="connsiteX1" fmla="*/ 9144000 w 9144000"/>
              <a:gd name="connsiteY1" fmla="*/ 0 h 6858000"/>
              <a:gd name="connsiteX2" fmla="*/ 9144000 w 9144000"/>
              <a:gd name="connsiteY2" fmla="*/ 6858000 h 6858000"/>
              <a:gd name="connsiteX3" fmla="*/ 0 w 9144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144000" h="6858000">
                <a:moveTo>
                  <a:pt x="0" y="0"/>
                </a:moveTo>
                <a:lnTo>
                  <a:pt x="9144000" y="0"/>
                </a:lnTo>
                <a:lnTo>
                  <a:pt x="9144000" y="6858000"/>
                </a:lnTo>
                <a:lnTo>
                  <a:pt x="0" y="6858000"/>
                </a:lnTo>
                <a:close/>
              </a:path>
            </a:pathLst>
          </a:custGeom>
        </p:spPr>
      </p:pic>
      <p:sp>
        <p:nvSpPr>
          <p:cNvPr id="10" name="Rechteck 6"/>
          <p:cNvSpPr/>
          <p:nvPr userDrawn="1"/>
        </p:nvSpPr>
        <p:spPr>
          <a:xfrm>
            <a:off x="0" y="-13124"/>
            <a:ext cx="12192000" cy="6857999"/>
          </a:xfrm>
          <a:prstGeom prst="rect">
            <a:avLst/>
          </a:prstGeom>
          <a:solidFill>
            <a:schemeClr val="bg1"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2400" b="0">
              <a:solidFill>
                <a:srgbClr val="000000"/>
              </a:solidFill>
            </a:endParaRP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041186" y="5098428"/>
            <a:ext cx="1010963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3200" b="0" cap="none" baseline="0">
                <a:solidFill>
                  <a:schemeClr val="tx1"/>
                </a:solidFill>
                <a:latin typeface="+mj-lt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smtClean="0"/>
              <a:t>INSERT YOUR SUBTITLE HERE</a:t>
            </a:r>
            <a:endParaRPr lang="en-US" dirty="0"/>
          </a:p>
        </p:txBody>
      </p:sp>
      <p:sp>
        <p:nvSpPr>
          <p:cNvPr id="5" name="Title 1"/>
          <p:cNvSpPr>
            <a:spLocks noGrp="1"/>
          </p:cNvSpPr>
          <p:nvPr>
            <p:ph type="ctrTitle" hasCustomPrompt="1"/>
          </p:nvPr>
        </p:nvSpPr>
        <p:spPr>
          <a:xfrm>
            <a:off x="1041186" y="2583736"/>
            <a:ext cx="10109631" cy="1690528"/>
          </a:xfrm>
        </p:spPr>
        <p:txBody>
          <a:bodyPr anchor="ctr"/>
          <a:lstStyle>
            <a:lvl1pPr algn="ctr">
              <a:lnSpc>
                <a:spcPct val="100000"/>
              </a:lnSpc>
              <a:defRPr lang="en-US" sz="8000" i="0" u="none" kern="1200" cap="all" spc="-133" baseline="0" dirty="0">
                <a:solidFill>
                  <a:schemeClr val="tx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TEXT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7" name="Bild 5" descr="runningman.png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253742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ly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5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53493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tIns="0" rIns="0" anchor="t" anchorCtr="0"/>
          <a:lstStyle>
            <a:lvl1pPr>
              <a:defRPr sz="4267" cap="all" baseline="0"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5" name="Segnaposto testo 14"/>
          <p:cNvSpPr>
            <a:spLocks noGrp="1"/>
          </p:cNvSpPr>
          <p:nvPr>
            <p:ph type="body" sz="quarter" idx="10" hasCustomPrompt="1"/>
          </p:nvPr>
        </p:nvSpPr>
        <p:spPr>
          <a:xfrm>
            <a:off x="765137" y="1869268"/>
            <a:ext cx="10624217" cy="4055752"/>
          </a:xfrm>
        </p:spPr>
        <p:txBody>
          <a:bodyPr lIns="0" bIns="0"/>
          <a:lstStyle>
            <a:lvl1pPr>
              <a:lnSpc>
                <a:spcPct val="100000"/>
              </a:lnSpc>
              <a:defRPr/>
            </a:lvl1pPr>
            <a:lvl2pPr>
              <a:lnSpc>
                <a:spcPct val="100000"/>
              </a:lnSpc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buClr>
                <a:schemeClr val="tx2"/>
              </a:buClr>
              <a:defRPr/>
            </a:lvl4pPr>
            <a:lvl6pPr>
              <a:defRPr sz="2267"/>
            </a:lvl6pPr>
            <a:lvl7pPr marL="239994" indent="-239994">
              <a:buClr>
                <a:schemeClr val="tx2"/>
              </a:buClr>
              <a:buAutoNum type="arabicPeriod"/>
              <a:defRPr lang="it-IT" sz="2400" kern="1200" baseline="0" dirty="0" smtClean="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7pPr>
            <a:lvl8pPr>
              <a:buAutoNum type="arabicPeriod"/>
              <a:defRPr/>
            </a:lvl8pPr>
            <a:lvl9pPr>
              <a:defRPr sz="22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marL="685783" lvl="6" indent="-685783" algn="l" defTabSz="609585" rtl="0" eaLnBrk="1" latinLnBrk="0" hangingPunct="1">
              <a:lnSpc>
                <a:spcPct val="150000"/>
              </a:lnSpc>
              <a:spcBef>
                <a:spcPts val="800"/>
              </a:spcBef>
              <a:buClr>
                <a:schemeClr val="tx2"/>
              </a:buClr>
              <a:buSzPct val="130000"/>
              <a:buFont typeface="+mj-lt"/>
              <a:buAutoNum type="arabicPeriod"/>
            </a:pPr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8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598423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6" y="1916869"/>
            <a:ext cx="5087024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 hasCustomPrompt="1"/>
          </p:nvPr>
        </p:nvSpPr>
        <p:spPr>
          <a:xfrm>
            <a:off x="6275673" y="1916869"/>
            <a:ext cx="5113681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0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Bild 5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6194865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NGLE Image on Black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ttangolo 6"/>
          <p:cNvSpPr/>
          <p:nvPr userDrawn="1"/>
        </p:nvSpPr>
        <p:spPr>
          <a:xfrm>
            <a:off x="0" y="0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0" y="1667389"/>
            <a:ext cx="12192000" cy="3505455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pic>
        <p:nvPicPr>
          <p:cNvPr id="8" name="Bild 5" descr="runningman.pn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077" y="6410491"/>
            <a:ext cx="290043" cy="290043"/>
          </a:xfrm>
          <a:prstGeom prst="rect">
            <a:avLst/>
          </a:prstGeom>
        </p:spPr>
      </p:pic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10" name="Rettangolo 7"/>
          <p:cNvSpPr/>
          <p:nvPr userDrawn="1"/>
        </p:nvSpPr>
        <p:spPr>
          <a:xfrm>
            <a:off x="0" y="5172843"/>
            <a:ext cx="12192000" cy="1665515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it-IT" sz="2400" b="0">
              <a:solidFill>
                <a:srgbClr val="000000"/>
              </a:solidFill>
            </a:endParaRPr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0962282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Image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sp>
        <p:nvSpPr>
          <p:cNvPr id="12" name="Segnaposto immagine 5"/>
          <p:cNvSpPr>
            <a:spLocks noGrp="1"/>
          </p:cNvSpPr>
          <p:nvPr>
            <p:ph type="pic" sz="quarter" idx="11"/>
          </p:nvPr>
        </p:nvSpPr>
        <p:spPr>
          <a:xfrm>
            <a:off x="5367453" y="1889351"/>
            <a:ext cx="6824547" cy="4049183"/>
          </a:xfrm>
        </p:spPr>
        <p:txBody>
          <a:bodyPr/>
          <a:lstStyle/>
          <a:p>
            <a:r>
              <a:rPr lang="it-IT" smtClean="0"/>
              <a:t>Fare clic sull'icona per inserire un'immagine</a:t>
            </a:r>
            <a:endParaRPr lang="it-IT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2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2497055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SERT Gradient + side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 hasCustomPrompt="1"/>
          </p:nvPr>
        </p:nvSpPr>
        <p:spPr>
          <a:xfrm>
            <a:off x="765138" y="1916869"/>
            <a:ext cx="3992717" cy="4049711"/>
          </a:xfrm>
        </p:spPr>
        <p:txBody>
          <a:bodyPr/>
          <a:lstStyle>
            <a:lvl1pPr>
              <a:defRPr sz="2133"/>
            </a:lvl1pPr>
            <a:lvl2pPr>
              <a:defRPr sz="2133"/>
            </a:lvl2pPr>
            <a:lvl3pPr>
              <a:defRPr sz="2133"/>
            </a:lvl3pPr>
            <a:lvl4pPr>
              <a:defRPr sz="2133"/>
            </a:lvl4pPr>
            <a:lvl5pPr>
              <a:defRPr sz="2133"/>
            </a:lvl5pPr>
            <a:lvl6pPr>
              <a:defRPr sz="1867"/>
            </a:lvl6pPr>
            <a:lvl7pPr>
              <a:defRPr sz="2133"/>
            </a:lvl7pPr>
            <a:lvl8pPr>
              <a:defRPr sz="2133"/>
            </a:lvl8pPr>
            <a:lvl9pPr>
              <a:defRPr sz="1867"/>
            </a:lvl9pPr>
          </a:lstStyle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2"/>
            <a:r>
              <a:rPr lang="it-IT" dirty="0" smtClean="0"/>
              <a:t>Basic green text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  <p:sp>
        <p:nvSpPr>
          <p:cNvPr id="15" name="Title 1"/>
          <p:cNvSpPr>
            <a:spLocks noGrp="1"/>
          </p:cNvSpPr>
          <p:nvPr>
            <p:ph type="title" hasCustomPrompt="1"/>
          </p:nvPr>
        </p:nvSpPr>
        <p:spPr>
          <a:xfrm>
            <a:off x="765137" y="544256"/>
            <a:ext cx="10624217" cy="355281"/>
          </a:xfrm>
        </p:spPr>
        <p:txBody>
          <a:bodyPr vert="horz" lIns="0" tIns="0" rIns="0" bIns="0" rtlCol="0" anchor="t" anchorCtr="0">
            <a:noAutofit/>
          </a:bodyPr>
          <a:lstStyle>
            <a:lvl1pPr>
              <a:defRPr lang="en-US" cap="all" baseline="0" dirty="0">
                <a:cs typeface="Arial" panose="020B0604020202020204" pitchFamily="34" charset="0"/>
              </a:defRPr>
            </a:lvl1pPr>
          </a:lstStyle>
          <a:p>
            <a:pPr lvl="0"/>
            <a:r>
              <a:rPr lang="it-IT" dirty="0" smtClean="0"/>
              <a:t>INSERT YOUR TITLE HERE</a:t>
            </a:r>
            <a:endParaRPr lang="en-US" dirty="0"/>
          </a:p>
        </p:txBody>
      </p:sp>
      <p:pic>
        <p:nvPicPr>
          <p:cNvPr id="2" name="Immagine 1"/>
          <p:cNvPicPr>
            <a:picLocks noChangeAspect="1"/>
          </p:cNvPicPr>
          <p:nvPr userDrawn="1"/>
        </p:nvPicPr>
        <p:blipFill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72527" y="1995754"/>
            <a:ext cx="6819472" cy="3835953"/>
          </a:xfrm>
          <a:prstGeom prst="rect">
            <a:avLst/>
          </a:prstGeom>
        </p:spPr>
      </p:pic>
      <p:sp>
        <p:nvSpPr>
          <p:cNvPr id="12" name="Content Placeholder 2"/>
          <p:cNvSpPr>
            <a:spLocks noGrp="1"/>
          </p:cNvSpPr>
          <p:nvPr>
            <p:ph sz="half" idx="11" hasCustomPrompt="1"/>
          </p:nvPr>
        </p:nvSpPr>
        <p:spPr>
          <a:xfrm>
            <a:off x="5803653" y="3811650"/>
            <a:ext cx="6155715" cy="825759"/>
          </a:xfrm>
        </p:spPr>
        <p:txBody>
          <a:bodyPr anchor="t"/>
          <a:lstStyle>
            <a:lvl1pPr>
              <a:defRPr sz="5333" cap="all" spc="-133">
                <a:solidFill>
                  <a:srgbClr val="FFFFFF"/>
                </a:solidFill>
                <a:latin typeface="Arial Black"/>
                <a:cs typeface="Arial Black"/>
              </a:defRPr>
            </a:lvl1pPr>
            <a:lvl2pPr>
              <a:defRPr sz="5333">
                <a:latin typeface="Arial Black"/>
                <a:cs typeface="Arial Black"/>
              </a:defRPr>
            </a:lvl2pPr>
            <a:lvl3pPr>
              <a:defRPr sz="5333">
                <a:latin typeface="Arial Black"/>
                <a:cs typeface="Arial Black"/>
              </a:defRPr>
            </a:lvl3pPr>
            <a:lvl4pPr>
              <a:defRPr sz="5333">
                <a:latin typeface="Arial Black"/>
                <a:cs typeface="Arial Black"/>
              </a:defRPr>
            </a:lvl4pPr>
            <a:lvl5pPr>
              <a:defRPr sz="5333">
                <a:latin typeface="Arial Black"/>
                <a:cs typeface="Arial Black"/>
              </a:defRPr>
            </a:lvl5pPr>
            <a:lvl6pPr>
              <a:defRPr sz="5333">
                <a:latin typeface="Arial Black"/>
                <a:cs typeface="Arial Black"/>
              </a:defRPr>
            </a:lvl6pPr>
            <a:lvl7pPr>
              <a:defRPr sz="5333">
                <a:latin typeface="Arial Black"/>
                <a:cs typeface="Arial Black"/>
              </a:defRPr>
            </a:lvl7pPr>
            <a:lvl8pPr>
              <a:defRPr sz="5333">
                <a:latin typeface="Arial Black"/>
                <a:cs typeface="Arial Black"/>
              </a:defRPr>
            </a:lvl8pPr>
            <a:lvl9pPr>
              <a:defRPr sz="5333">
                <a:latin typeface="Arial Black"/>
                <a:cs typeface="Arial Black"/>
              </a:defRPr>
            </a:lvl9pPr>
          </a:lstStyle>
          <a:p>
            <a:pPr lvl="0"/>
            <a:r>
              <a:rPr lang="en-US" dirty="0" smtClean="0"/>
              <a:t>TEXT</a:t>
            </a:r>
            <a:endParaRPr lang="en-US" dirty="0"/>
          </a:p>
        </p:txBody>
      </p:sp>
      <p:sp>
        <p:nvSpPr>
          <p:cNvPr id="13" name="Content Placeholder 2"/>
          <p:cNvSpPr>
            <a:spLocks noGrp="1"/>
          </p:cNvSpPr>
          <p:nvPr>
            <p:ph sz="half" idx="12" hasCustomPrompt="1"/>
          </p:nvPr>
        </p:nvSpPr>
        <p:spPr>
          <a:xfrm>
            <a:off x="5803653" y="2537359"/>
            <a:ext cx="6155715" cy="426875"/>
          </a:xfrm>
        </p:spPr>
        <p:txBody>
          <a:bodyPr/>
          <a:lstStyle>
            <a:lvl1pPr>
              <a:defRPr sz="2133">
                <a:solidFill>
                  <a:srgbClr val="FFFFFF"/>
                </a:solidFill>
              </a:defRPr>
            </a:lvl1pPr>
            <a:lvl2pPr marL="0" indent="0">
              <a:buFont typeface="+mj-lt"/>
              <a:buNone/>
              <a:defRPr sz="1867">
                <a:solidFill>
                  <a:schemeClr val="tx1"/>
                </a:solidFill>
              </a:defRPr>
            </a:lvl2pPr>
            <a:lvl3pPr marL="0" indent="0">
              <a:buFont typeface="+mj-lt"/>
              <a:buNone/>
              <a:defRPr sz="1867">
                <a:solidFill>
                  <a:schemeClr val="tx1"/>
                </a:solidFill>
              </a:defRPr>
            </a:lvl3pPr>
            <a:lvl4pPr marL="0" indent="0">
              <a:buFont typeface="+mj-lt"/>
              <a:buNone/>
              <a:defRPr sz="1867">
                <a:solidFill>
                  <a:schemeClr val="tx1"/>
                </a:solidFill>
              </a:defRPr>
            </a:lvl4pPr>
            <a:lvl5pPr marL="0" indent="0">
              <a:buFont typeface="+mj-lt"/>
              <a:buNone/>
              <a:defRPr sz="1867">
                <a:solidFill>
                  <a:schemeClr val="tx1"/>
                </a:solidFill>
              </a:defRPr>
            </a:lvl5pPr>
            <a:lvl6pPr marL="0" indent="0">
              <a:buFont typeface="+mj-lt"/>
              <a:buNone/>
              <a:defRPr sz="1867">
                <a:solidFill>
                  <a:schemeClr val="tx1"/>
                </a:solidFill>
              </a:defRPr>
            </a:lvl6pPr>
            <a:lvl7pPr marL="0" indent="0">
              <a:buFont typeface="+mj-lt"/>
              <a:buNone/>
              <a:defRPr sz="1867">
                <a:solidFill>
                  <a:schemeClr val="tx1"/>
                </a:solidFill>
              </a:defRPr>
            </a:lvl7pPr>
            <a:lvl8pPr marL="0" indent="0">
              <a:buFont typeface="+mj-lt"/>
              <a:buNone/>
              <a:defRPr sz="1867">
                <a:solidFill>
                  <a:schemeClr val="tx1"/>
                </a:solidFill>
              </a:defRPr>
            </a:lvl8pPr>
            <a:lvl9pPr marL="0" indent="0">
              <a:buFont typeface="+mj-lt"/>
              <a:buNone/>
              <a:defRPr sz="1867">
                <a:solidFill>
                  <a:schemeClr val="tx1"/>
                </a:solidFill>
              </a:defRPr>
            </a:lvl9pPr>
          </a:lstStyle>
          <a:p>
            <a:pPr lvl="0"/>
            <a:r>
              <a:rPr lang="it-IT" dirty="0" smtClean="0"/>
              <a:t>Basic text</a:t>
            </a:r>
          </a:p>
        </p:txBody>
      </p:sp>
      <p:sp>
        <p:nvSpPr>
          <p:cNvPr id="9" name="Subtitle 2"/>
          <p:cNvSpPr>
            <a:spLocks noGrp="1"/>
          </p:cNvSpPr>
          <p:nvPr>
            <p:ph type="subTitle" idx="13" hasCustomPrompt="1"/>
          </p:nvPr>
        </p:nvSpPr>
        <p:spPr>
          <a:xfrm>
            <a:off x="765137" y="1005000"/>
            <a:ext cx="10624217" cy="438427"/>
          </a:xfrm>
        </p:spPr>
        <p:txBody>
          <a:bodyPr lIns="0" bIns="0" anchor="ctr">
            <a:noAutofit/>
          </a:bodyPr>
          <a:lstStyle>
            <a:lvl1pPr marL="0" indent="0" algn="ctr">
              <a:buNone/>
              <a:defRPr sz="2133" b="0" cap="all">
                <a:solidFill>
                  <a:schemeClr val="tx1"/>
                </a:solidFill>
                <a:latin typeface="Arial Black" panose="020B0A04020102020204" pitchFamily="34" charset="0"/>
                <a:cs typeface="Arial Black" panose="020B0A04020102020204" pitchFamily="34" charset="0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11" name="Bild 5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27987" y="6409160"/>
            <a:ext cx="290043" cy="2900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1011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81348115"/>
      </p:ext>
    </p:extLst>
  </p:cSld>
  <p:clrMapOvr>
    <a:masterClrMapping/>
  </p:clrMapOvr>
  <p:transition spd="med">
    <p:strips dir="rd"/>
  </p:transition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10622407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magine 7"/>
          <p:cNvPicPr>
            <a:picLocks/>
          </p:cNvPicPr>
          <p:nvPr userDrawn="1"/>
        </p:nvPicPr>
        <p:blipFill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-2372"/>
            <a:ext cx="12240683" cy="6885384"/>
          </a:xfrm>
          <a:prstGeom prst="rect">
            <a:avLst/>
          </a:prstGeom>
        </p:spPr>
      </p:pic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1541364" y="2680306"/>
            <a:ext cx="9337920" cy="1762263"/>
          </a:xfrm>
        </p:spPr>
        <p:txBody>
          <a:bodyPr anchor="ctr"/>
          <a:lstStyle>
            <a:lvl1pPr>
              <a:lnSpc>
                <a:spcPct val="80000"/>
              </a:lnSpc>
              <a:defRPr lang="en-US" sz="8000" i="0" u="none" kern="1200" cap="all" spc="-133" baseline="0" dirty="0">
                <a:solidFill>
                  <a:srgbClr val="FFFFFF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41364" y="4501189"/>
            <a:ext cx="9337921" cy="438427"/>
          </a:xfrm>
        </p:spPr>
        <p:txBody>
          <a:bodyPr lIns="0" bIns="0" anchor="t">
            <a:noAutofit/>
          </a:bodyPr>
          <a:lstStyle>
            <a:lvl1pPr marL="0" indent="0" algn="ctr">
              <a:buNone/>
              <a:defRPr sz="2400" b="0" cap="none">
                <a:solidFill>
                  <a:srgbClr val="FFFFFF"/>
                </a:solidFill>
                <a:latin typeface="+mn-lt"/>
                <a:cs typeface="Arial Black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dirty="0" err="1" smtClean="0"/>
              <a:t>Insert</a:t>
            </a:r>
            <a:r>
              <a:rPr lang="it-IT" dirty="0" smtClean="0"/>
              <a:t> </a:t>
            </a:r>
            <a:r>
              <a:rPr lang="it-IT" dirty="0" err="1" smtClean="0"/>
              <a:t>your</a:t>
            </a:r>
            <a:r>
              <a:rPr lang="it-IT" dirty="0" smtClean="0"/>
              <a:t> </a:t>
            </a:r>
            <a:r>
              <a:rPr lang="it-IT" dirty="0" err="1" smtClean="0"/>
              <a:t>subtitle</a:t>
            </a:r>
            <a:r>
              <a:rPr lang="it-IT" dirty="0" smtClean="0"/>
              <a:t> </a:t>
            </a:r>
            <a:r>
              <a:rPr lang="it-IT" dirty="0" err="1" smtClean="0"/>
              <a:t>here</a:t>
            </a:r>
            <a:endParaRPr lang="en-US" dirty="0"/>
          </a:p>
        </p:txBody>
      </p:sp>
      <p:pic>
        <p:nvPicPr>
          <p:cNvPr id="9" name="Immagin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54167" y="6298415"/>
            <a:ext cx="1184039" cy="370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44807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5745735"/>
      </p:ext>
    </p:extLst>
  </p:cSld>
  <p:clrMapOvr>
    <a:masterClrMapping/>
  </p:clrMapOvr>
  <p:transition spd="med">
    <p:strips dir="rd"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8196655"/>
      </p:ext>
    </p:extLst>
  </p:cSld>
  <p:clrMapOvr>
    <a:masterClrMapping/>
  </p:clrMapOvr>
  <p:transition spd="med">
    <p:strips dir="rd"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slideLayout" Target="../slideLayouts/slideLayout38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theme" Target="../theme/theme3.xml"/><Relationship Id="rId2" Type="http://schemas.openxmlformats.org/officeDocument/2006/relationships/slideLayout" Target="../slideLayouts/slideLayout27.xml"/><Relationship Id="rId16" Type="http://schemas.openxmlformats.org/officeDocument/2006/relationships/slideLayout" Target="../slideLayouts/slideLayout41.xml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slideLayout" Target="../slideLayouts/slideLayout40.xml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slideLayout" Target="../slideLayouts/slideLayout39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13" Type="http://schemas.openxmlformats.org/officeDocument/2006/relationships/slideLayout" Target="../slideLayouts/slideLayout54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12" Type="http://schemas.openxmlformats.org/officeDocument/2006/relationships/slideLayout" Target="../slideLayouts/slideLayout53.xml"/><Relationship Id="rId2" Type="http://schemas.openxmlformats.org/officeDocument/2006/relationships/slideLayout" Target="../slideLayouts/slideLayout43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slideLayout" Target="../slideLayouts/slideLayout52.xml"/><Relationship Id="rId5" Type="http://schemas.openxmlformats.org/officeDocument/2006/relationships/slideLayout" Target="../slideLayouts/slideLayout46.xml"/><Relationship Id="rId15" Type="http://schemas.openxmlformats.org/officeDocument/2006/relationships/slideLayout" Target="../slideLayouts/slideLayout56.xml"/><Relationship Id="rId10" Type="http://schemas.openxmlformats.org/officeDocument/2006/relationships/slideLayout" Target="../slideLayouts/slideLayout51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Relationship Id="rId14" Type="http://schemas.openxmlformats.org/officeDocument/2006/relationships/slideLayout" Target="../slideLayouts/slideLayout5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4.xml"/><Relationship Id="rId13" Type="http://schemas.openxmlformats.org/officeDocument/2006/relationships/slideLayout" Target="../slideLayouts/slideLayout69.xml"/><Relationship Id="rId3" Type="http://schemas.openxmlformats.org/officeDocument/2006/relationships/slideLayout" Target="../slideLayouts/slideLayout59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2" Type="http://schemas.openxmlformats.org/officeDocument/2006/relationships/slideLayout" Target="../slideLayouts/slideLayout58.xml"/><Relationship Id="rId16" Type="http://schemas.openxmlformats.org/officeDocument/2006/relationships/theme" Target="../theme/theme5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5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1.xml"/><Relationship Id="rId10" Type="http://schemas.openxmlformats.org/officeDocument/2006/relationships/slideLayout" Target="../slideLayouts/slideLayout66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3200" y="1371600"/>
            <a:ext cx="103632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 smtClean="0"/>
              <a:t>Fare clic per modificare gli stili del testo dello schema</a:t>
            </a:r>
          </a:p>
          <a:p>
            <a:pPr lvl="1"/>
            <a:r>
              <a:rPr lang="it-IT" altLang="it-IT" smtClean="0"/>
              <a:t>Secondo livello</a:t>
            </a:r>
          </a:p>
          <a:p>
            <a:pPr lvl="2"/>
            <a:r>
              <a:rPr lang="it-IT" altLang="it-IT" smtClean="0"/>
              <a:t>Terzo livello</a:t>
            </a:r>
          </a:p>
        </p:txBody>
      </p:sp>
      <p:sp>
        <p:nvSpPr>
          <p:cNvPr id="2" name="Rettangolo 1"/>
          <p:cNvSpPr/>
          <p:nvPr userDrawn="1"/>
        </p:nvSpPr>
        <p:spPr>
          <a:xfrm>
            <a:off x="217095" y="6137095"/>
            <a:ext cx="38023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fld id="{83005305-56AA-41FB-8E52-9E09D388040D}" type="slidenum">
              <a:rPr lang="it-IT" sz="1100" smtClean="0">
                <a:solidFill>
                  <a:srgbClr val="000000"/>
                </a:solidFill>
              </a:rPr>
              <a:pPr/>
              <a:t>‹N›</a:t>
            </a:fld>
            <a:endParaRPr lang="it-IT" sz="1100" dirty="0"/>
          </a:p>
        </p:txBody>
      </p:sp>
      <p:pic>
        <p:nvPicPr>
          <p:cNvPr id="5" name="Bild 5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57455" y="6382323"/>
            <a:ext cx="290043" cy="21753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4" r:id="rId5"/>
    <p:sldLayoutId id="2147483655" r:id="rId6"/>
    <p:sldLayoutId id="2147483656" r:id="rId7"/>
    <p:sldLayoutId id="2147483657" r:id="rId8"/>
    <p:sldLayoutId id="2147483658" r:id="rId9"/>
    <p:sldLayoutId id="2147483659" r:id="rId10"/>
    <p:sldLayoutId id="2147483660" r:id="rId11"/>
    <p:sldLayoutId id="2147483661" r:id="rId12"/>
  </p:sldLayoutIdLst>
  <p:transition spd="med">
    <p:strips dir="rd"/>
  </p:transition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3200" y="1371600"/>
            <a:ext cx="10363200" cy="4114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it-IT" altLang="it-IT" smtClean="0"/>
              <a:t>Fare clic per modificare gli stili del testo dello schema</a:t>
            </a:r>
          </a:p>
          <a:p>
            <a:pPr lvl="1"/>
            <a:r>
              <a:rPr lang="it-IT" altLang="it-IT" smtClean="0"/>
              <a:t>Secondo livello</a:t>
            </a:r>
          </a:p>
          <a:p>
            <a:pPr lvl="2"/>
            <a:r>
              <a:rPr lang="it-IT" altLang="it-IT" smtClean="0"/>
              <a:t>Terzo livello</a:t>
            </a:r>
          </a:p>
        </p:txBody>
      </p:sp>
      <p:pic>
        <p:nvPicPr>
          <p:cNvPr id="4" name="Picture 2" descr="C:\MARKETING\PROGETTI\PPT REPLY TEMPLATE\elements\omini tutti colori 3d\green\reply_3d.png"/>
          <p:cNvPicPr>
            <a:picLocks noChangeAspect="1" noChangeArrowheads="1"/>
          </p:cNvPicPr>
          <p:nvPr userDrawn="1"/>
        </p:nvPicPr>
        <p:blipFill>
          <a:blip r:embed="rId15"/>
          <a:stretch>
            <a:fillRect/>
          </a:stretch>
        </p:blipFill>
        <p:spPr bwMode="auto">
          <a:xfrm>
            <a:off x="11103710" y="6039136"/>
            <a:ext cx="885377" cy="719138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651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  <p:sldLayoutId id="2147483671" r:id="rId8"/>
    <p:sldLayoutId id="2147483672" r:id="rId9"/>
    <p:sldLayoutId id="2147483673" r:id="rId10"/>
    <p:sldLayoutId id="2147483674" r:id="rId11"/>
    <p:sldLayoutId id="2147483675" r:id="rId12"/>
    <p:sldLayoutId id="2147483676" r:id="rId13"/>
  </p:sldLayoutIdLst>
  <p:transition spd="med">
    <p:strips dir="rd"/>
  </p:transition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1600" b="1">
          <a:solidFill>
            <a:schemeClr val="tx2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428645"/>
            <a:ext cx="10972800" cy="745639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LETTERS</a:t>
            </a:r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rst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8672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</p:sldLayoutIdLst>
  <p:hf sldNum="0" hdr="0" ftr="0" dt="0"/>
  <p:txStyles>
    <p:titleStyle>
      <a:lvl1pPr algn="ctr" defTabSz="914400" rtl="0" eaLnBrk="1" latinLnBrk="0" hangingPunct="1">
        <a:lnSpc>
          <a:spcPct val="80000"/>
        </a:lnSpc>
        <a:spcBef>
          <a:spcPct val="0"/>
        </a:spcBef>
        <a:buNone/>
        <a:defRPr sz="3200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buFont typeface="Arial" pitchFamily="34" charset="0"/>
        <a:buNone/>
        <a:defRPr sz="18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600"/>
        </a:spcAft>
        <a:buFont typeface="Arial" pitchFamily="34" charset="0"/>
        <a:buNone/>
        <a:defRPr sz="18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914400" rtl="0" eaLnBrk="1" latinLnBrk="0" hangingPunct="1">
        <a:lnSpc>
          <a:spcPct val="120000"/>
        </a:lnSpc>
        <a:spcBef>
          <a:spcPts val="600"/>
        </a:spcBef>
        <a:buFont typeface="Arial" pitchFamily="34" charset="0"/>
        <a:buNone/>
        <a:defRPr sz="1800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18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Wingdings" panose="05000000000000000000" pitchFamily="2" charset="2"/>
        <a:buChar char="§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0" indent="-180000" algn="l" defTabSz="457200" rtl="0" eaLnBrk="1" latinLnBrk="0" hangingPunct="1">
        <a:lnSpc>
          <a:spcPct val="150000"/>
        </a:lnSpc>
        <a:spcBef>
          <a:spcPts val="600"/>
        </a:spcBef>
        <a:buClr>
          <a:schemeClr val="tx2"/>
        </a:buClr>
        <a:buSzPct val="130000"/>
        <a:buFont typeface="+mj-lt"/>
        <a:buAutoNum type="arabicPeriod"/>
        <a:defRPr lang="it-IT" sz="18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36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40000" indent="-180000" algn="l" defTabSz="914400" rtl="0" eaLnBrk="1" latinLnBrk="0" hangingPunct="1">
        <a:lnSpc>
          <a:spcPct val="120000"/>
        </a:lnSpc>
        <a:spcBef>
          <a:spcPts val="600"/>
        </a:spcBef>
        <a:buClr>
          <a:schemeClr val="tx2"/>
        </a:buClr>
        <a:buFont typeface="+mj-lt"/>
        <a:buAutoNum type="arabicPeriod"/>
        <a:defRPr sz="17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5709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st </a:t>
            </a:r>
            <a:r>
              <a:rPr lang="it-IT" dirty="0" err="1" smtClean="0"/>
              <a:t>numbered</a:t>
            </a:r>
            <a:r>
              <a:rPr lang="it-IT" smtClean="0"/>
              <a:t> text</a:t>
            </a:r>
            <a:endParaRPr lang="it-IT" dirty="0" smtClean="0"/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374780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7" r:id="rId1"/>
    <p:sldLayoutId id="2147483698" r:id="rId2"/>
    <p:sldLayoutId id="2147483699" r:id="rId3"/>
    <p:sldLayoutId id="2147483700" r:id="rId4"/>
    <p:sldLayoutId id="2147483701" r:id="rId5"/>
    <p:sldLayoutId id="2147483702" r:id="rId6"/>
    <p:sldLayoutId id="2147483703" r:id="rId7"/>
    <p:sldLayoutId id="2147483704" r:id="rId8"/>
    <p:sldLayoutId id="2147483705" r:id="rId9"/>
    <p:sldLayoutId id="2147483706" r:id="rId10"/>
    <p:sldLayoutId id="2147483707" r:id="rId11"/>
    <p:sldLayoutId id="2147483708" r:id="rId12"/>
    <p:sldLayoutId id="2147483709" r:id="rId13"/>
    <p:sldLayoutId id="2147483710" r:id="rId14"/>
    <p:sldLayoutId id="2147483711" r:id="rId15"/>
  </p:sldLayoutIdLst>
  <p:hf sldNum="0" hdr="0" ftr="0" dt="0"/>
  <p:txStyles>
    <p:titleStyle>
      <a:lvl1pPr algn="ctr" defTabSz="1219170" rtl="0" eaLnBrk="1" latinLnBrk="0" hangingPunct="1">
        <a:lnSpc>
          <a:spcPct val="80000"/>
        </a:lnSpc>
        <a:spcBef>
          <a:spcPct val="0"/>
        </a:spcBef>
        <a:buNone/>
        <a:defRPr sz="4267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1600"/>
        </a:spcBef>
        <a:spcAft>
          <a:spcPts val="800"/>
        </a:spcAft>
        <a:buFont typeface="Arial" pitchFamily="34" charset="0"/>
        <a:buNone/>
        <a:defRPr sz="24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1219170" rtl="0" eaLnBrk="1" latinLnBrk="0" hangingPunct="1">
        <a:lnSpc>
          <a:spcPct val="120000"/>
        </a:lnSpc>
        <a:spcBef>
          <a:spcPts val="800"/>
        </a:spcBef>
        <a:buFont typeface="Arial" pitchFamily="34" charset="0"/>
        <a:buNone/>
        <a:defRPr sz="1867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+mj-lt"/>
        <a:buAutoNum type="arabicPeriod"/>
        <a:defRPr lang="it-IT" sz="2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0" tIns="45720" rIns="91440" bIns="0" rtlCol="0" anchor="t">
            <a:noAutofit/>
          </a:bodyPr>
          <a:lstStyle/>
          <a:p>
            <a:r>
              <a:rPr lang="it-IT" dirty="0" smtClean="0"/>
              <a:t>CLICK TO CHANG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435709"/>
            <a:ext cx="10972800" cy="452596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it-IT" dirty="0" smtClean="0"/>
              <a:t>Basic text</a:t>
            </a:r>
          </a:p>
          <a:p>
            <a:pPr lvl="1"/>
            <a:r>
              <a:rPr lang="it-IT" dirty="0" smtClean="0"/>
              <a:t>Text in CAPITAL </a:t>
            </a:r>
            <a:r>
              <a:rPr lang="it-IT" dirty="0" err="1" smtClean="0"/>
              <a:t>LeTTERS</a:t>
            </a:r>
            <a:endParaRPr lang="it-IT" dirty="0" smtClean="0"/>
          </a:p>
          <a:p>
            <a:pPr lvl="3"/>
            <a:r>
              <a:rPr lang="it-IT" dirty="0" smtClean="0"/>
              <a:t>First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4"/>
            <a:r>
              <a:rPr lang="it-IT" dirty="0" smtClean="0"/>
              <a:t>Secon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5"/>
            <a:r>
              <a:rPr lang="it-IT" dirty="0" smtClean="0"/>
              <a:t>Third </a:t>
            </a:r>
            <a:r>
              <a:rPr lang="it-IT" dirty="0" err="1" smtClean="0"/>
              <a:t>bullet</a:t>
            </a:r>
            <a:r>
              <a:rPr lang="it-IT" dirty="0" smtClean="0"/>
              <a:t> </a:t>
            </a:r>
            <a:r>
              <a:rPr lang="it-IT" dirty="0" err="1" smtClean="0"/>
              <a:t>point</a:t>
            </a:r>
            <a:r>
              <a:rPr lang="it-IT" dirty="0" smtClean="0"/>
              <a:t> text</a:t>
            </a:r>
          </a:p>
          <a:p>
            <a:pPr lvl="6"/>
            <a:r>
              <a:rPr lang="it-IT" dirty="0" smtClean="0"/>
              <a:t>Fist </a:t>
            </a:r>
            <a:r>
              <a:rPr lang="it-IT" dirty="0" err="1" smtClean="0"/>
              <a:t>numbered</a:t>
            </a:r>
            <a:r>
              <a:rPr lang="it-IT" smtClean="0"/>
              <a:t> text</a:t>
            </a:r>
            <a:endParaRPr lang="it-IT" dirty="0" smtClean="0"/>
          </a:p>
          <a:p>
            <a:pPr lvl="7"/>
            <a:r>
              <a:rPr lang="it-IT" dirty="0" smtClean="0"/>
              <a:t>Secon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</a:p>
          <a:p>
            <a:pPr lvl="8"/>
            <a:r>
              <a:rPr lang="it-IT" dirty="0" smtClean="0"/>
              <a:t>Third </a:t>
            </a:r>
            <a:r>
              <a:rPr lang="it-IT" dirty="0" err="1" smtClean="0"/>
              <a:t>numbered</a:t>
            </a:r>
            <a:r>
              <a:rPr lang="it-IT" dirty="0" smtClean="0"/>
              <a:t> tex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4321821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</p:sldLayoutIdLst>
  <p:hf sldNum="0" hdr="0" ftr="0" dt="0"/>
  <p:txStyles>
    <p:titleStyle>
      <a:lvl1pPr algn="ctr" defTabSz="1219170" rtl="0" eaLnBrk="1" latinLnBrk="0" hangingPunct="1">
        <a:lnSpc>
          <a:spcPct val="80000"/>
        </a:lnSpc>
        <a:spcBef>
          <a:spcPct val="0"/>
        </a:spcBef>
        <a:buNone/>
        <a:defRPr sz="4267" kern="1200">
          <a:solidFill>
            <a:schemeClr val="tx1"/>
          </a:solidFill>
          <a:latin typeface="Arial Black" panose="020B0A04020102020204" pitchFamily="34" charset="0"/>
          <a:ea typeface="+mj-ea"/>
          <a:cs typeface="Arial Black" panose="020B0A04020102020204" pitchFamily="34" charset="0"/>
        </a:defRPr>
      </a:lvl1pPr>
    </p:titleStyle>
    <p:bodyStyle>
      <a:lvl1pPr marL="0" indent="0" algn="l" defTabSz="1219170" rtl="0" eaLnBrk="1" latinLnBrk="0" hangingPunct="1">
        <a:lnSpc>
          <a:spcPct val="100000"/>
        </a:lnSpc>
        <a:spcBef>
          <a:spcPts val="800"/>
        </a:spcBef>
        <a:buFont typeface="Arial" pitchFamily="34" charset="0"/>
        <a:buNone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1219170" rtl="0" eaLnBrk="1" latinLnBrk="0" hangingPunct="1">
        <a:lnSpc>
          <a:spcPct val="100000"/>
        </a:lnSpc>
        <a:spcBef>
          <a:spcPts val="1600"/>
        </a:spcBef>
        <a:spcAft>
          <a:spcPts val="800"/>
        </a:spcAft>
        <a:buFont typeface="Arial" pitchFamily="34" charset="0"/>
        <a:buNone/>
        <a:defRPr sz="2400" b="0" i="0" kern="1200" cap="all">
          <a:solidFill>
            <a:schemeClr val="tx2"/>
          </a:solidFill>
          <a:latin typeface="Arial"/>
          <a:ea typeface="+mn-ea"/>
          <a:cs typeface="Arial"/>
        </a:defRPr>
      </a:lvl2pPr>
      <a:lvl3pPr marL="0" indent="0" algn="l" defTabSz="1219170" rtl="0" eaLnBrk="1" latinLnBrk="0" hangingPunct="1">
        <a:lnSpc>
          <a:spcPct val="120000"/>
        </a:lnSpc>
        <a:spcBef>
          <a:spcPts val="800"/>
        </a:spcBef>
        <a:buFont typeface="Arial" pitchFamily="34" charset="0"/>
        <a:buNone/>
        <a:defRPr sz="1867" b="0" i="0" kern="1200">
          <a:solidFill>
            <a:schemeClr val="tx2"/>
          </a:solidFill>
          <a:latin typeface="Arial"/>
          <a:ea typeface="+mn-ea"/>
          <a:cs typeface="Arial"/>
        </a:defRPr>
      </a:lvl3pPr>
      <a:lvl4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239994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SzPct val="130000"/>
        <a:buFont typeface="+mj-lt"/>
        <a:buAutoNum type="arabicPeriod"/>
        <a:defRPr lang="it-IT" sz="2400" kern="1200" baseline="0" dirty="0" smtClean="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7pPr>
      <a:lvl8pPr marL="479988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719982" indent="-239994" algn="l" defTabSz="1219170" rtl="0" eaLnBrk="1" latinLnBrk="0" hangingPunct="1">
        <a:lnSpc>
          <a:spcPct val="120000"/>
        </a:lnSpc>
        <a:spcBef>
          <a:spcPts val="800"/>
        </a:spcBef>
        <a:buClr>
          <a:schemeClr val="tx2"/>
        </a:buClr>
        <a:buFont typeface="+mj-lt"/>
        <a:buAutoNum type="arabicPeriod"/>
        <a:defRPr sz="2400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2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hyperlink" Target="mailto:c.castelli@reply.eu" TargetMode="External"/><Relationship Id="rId1" Type="http://schemas.openxmlformats.org/officeDocument/2006/relationships/slideLayout" Target="../slideLayouts/slideLayout7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2.xml"/><Relationship Id="rId4" Type="http://schemas.openxmlformats.org/officeDocument/2006/relationships/chart" Target="../charts/char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 txBox="1">
            <a:spLocks/>
          </p:cNvSpPr>
          <p:nvPr/>
        </p:nvSpPr>
        <p:spPr>
          <a:xfrm>
            <a:off x="1343472" y="1570936"/>
            <a:ext cx="7091866" cy="3216228"/>
          </a:xfrm>
          <a:prstGeom prst="rect">
            <a:avLst/>
          </a:prstGeom>
        </p:spPr>
        <p:txBody>
          <a:bodyPr vert="horz" lIns="0" tIns="45720" rIns="91440" bIns="0" rtlCol="0" anchor="b">
            <a:no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US" sz="6000" i="0" u="none" kern="1200" cap="all" spc="-100" dirty="0">
                <a:solidFill>
                  <a:schemeClr val="bg1"/>
                </a:solidFill>
                <a:latin typeface="Arial Black"/>
                <a:ea typeface="+mj-ea"/>
                <a:cs typeface="Arial Black"/>
              </a:defRPr>
            </a:lvl1pPr>
          </a:lstStyle>
          <a:p>
            <a:pPr fontAlgn="auto">
              <a:spcAft>
                <a:spcPts val="0"/>
              </a:spcAft>
            </a:pPr>
            <a:r>
              <a:rPr lang="it-IT" sz="4400" b="0" dirty="0">
                <a:solidFill>
                  <a:srgbClr val="FFFFFF"/>
                </a:solidFill>
              </a:rPr>
              <a:t>PRESENTAZIONE </a:t>
            </a:r>
            <a:endParaRPr lang="it-IT" sz="4400" b="0" dirty="0" smtClean="0">
              <a:solidFill>
                <a:srgbClr val="FFFFFF"/>
              </a:solidFill>
            </a:endParaRPr>
          </a:p>
          <a:p>
            <a:pPr fontAlgn="auto">
              <a:spcAft>
                <a:spcPts val="0"/>
              </a:spcAft>
            </a:pPr>
            <a:r>
              <a:rPr lang="it-IT" sz="4400" b="0" dirty="0" smtClean="0">
                <a:solidFill>
                  <a:srgbClr val="FFFFFF"/>
                </a:solidFill>
              </a:rPr>
              <a:t>DATI febbraio 2018</a:t>
            </a:r>
            <a:r>
              <a:rPr lang="it-IT" sz="4400" b="0" dirty="0">
                <a:solidFill>
                  <a:srgbClr val="FFFFFF"/>
                </a:solidFill>
              </a:rPr>
              <a:t/>
            </a:r>
            <a:br>
              <a:rPr lang="it-IT" sz="4400" b="0" dirty="0">
                <a:solidFill>
                  <a:srgbClr val="FFFFFF"/>
                </a:solidFill>
              </a:rPr>
            </a:br>
            <a:endParaRPr lang="it-IT" sz="2000" b="0" dirty="0" smtClean="0">
              <a:solidFill>
                <a:srgbClr val="FFFFFF"/>
              </a:solidFill>
            </a:endParaRPr>
          </a:p>
          <a:p>
            <a:pPr fontAlgn="auto">
              <a:spcAft>
                <a:spcPts val="0"/>
              </a:spcAft>
            </a:pPr>
            <a:r>
              <a:rPr lang="it-IT" sz="4400" b="0" dirty="0" smtClean="0">
                <a:solidFill>
                  <a:srgbClr val="FFFFFF"/>
                </a:solidFill>
              </a:rPr>
              <a:t>OSSERVATORIO - FCP </a:t>
            </a:r>
          </a:p>
          <a:p>
            <a:pPr fontAlgn="auto">
              <a:spcAft>
                <a:spcPts val="0"/>
              </a:spcAft>
            </a:pPr>
            <a:r>
              <a:rPr lang="it-IT" sz="4400" b="0" dirty="0" smtClean="0">
                <a:solidFill>
                  <a:srgbClr val="FFFFFF"/>
                </a:solidFill>
              </a:rPr>
              <a:t>ASSORADIO</a:t>
            </a:r>
            <a:endParaRPr lang="it-IT" sz="4400" b="0" dirty="0">
              <a:solidFill>
                <a:srgbClr val="FFFFFF"/>
              </a:solidFill>
            </a:endParaRPr>
          </a:p>
        </p:txBody>
      </p:sp>
      <p:sp>
        <p:nvSpPr>
          <p:cNvPr id="7" name="Sottotitolo 2"/>
          <p:cNvSpPr>
            <a:spLocks noGrp="1"/>
          </p:cNvSpPr>
          <p:nvPr>
            <p:ph type="subTitle" idx="1"/>
          </p:nvPr>
        </p:nvSpPr>
        <p:spPr>
          <a:xfrm>
            <a:off x="1415480" y="5175273"/>
            <a:ext cx="7585612" cy="438427"/>
          </a:xfrm>
        </p:spPr>
        <p:txBody>
          <a:bodyPr/>
          <a:lstStyle/>
          <a:p>
            <a:r>
              <a:rPr lang="it-IT" sz="2000" dirty="0" smtClean="0"/>
              <a:t>Milano, 28 marzo 2018</a:t>
            </a:r>
          </a:p>
        </p:txBody>
      </p:sp>
      <p:pic>
        <p:nvPicPr>
          <p:cNvPr id="8" name="Immagine 7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99732" y="373634"/>
            <a:ext cx="2533695" cy="132717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67167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build="p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olo 1"/>
          <p:cNvSpPr>
            <a:spLocks noGrp="1"/>
          </p:cNvSpPr>
          <p:nvPr>
            <p:ph type="ctrTitle"/>
          </p:nvPr>
        </p:nvSpPr>
        <p:spPr>
          <a:xfrm>
            <a:off x="1433788" y="2877954"/>
            <a:ext cx="5274716" cy="1564614"/>
          </a:xfrm>
        </p:spPr>
        <p:txBody>
          <a:bodyPr/>
          <a:lstStyle/>
          <a:p>
            <a:r>
              <a:rPr lang="it-IT" sz="6000" dirty="0" err="1" smtClean="0"/>
              <a:t>Thank</a:t>
            </a:r>
            <a:r>
              <a:rPr lang="it-IT" sz="6000" dirty="0" smtClean="0"/>
              <a:t> </a:t>
            </a:r>
            <a:r>
              <a:rPr lang="it-IT" sz="6000" dirty="0" err="1" smtClean="0"/>
              <a:t>you</a:t>
            </a:r>
            <a:endParaRPr lang="it-IT" sz="6000" dirty="0"/>
          </a:p>
        </p:txBody>
      </p:sp>
      <p:sp>
        <p:nvSpPr>
          <p:cNvPr id="7" name="Sottotitolo 4"/>
          <p:cNvSpPr>
            <a:spLocks noGrp="1"/>
          </p:cNvSpPr>
          <p:nvPr>
            <p:ph type="subTitle" idx="1"/>
          </p:nvPr>
        </p:nvSpPr>
        <p:spPr>
          <a:xfrm>
            <a:off x="1541365" y="4501190"/>
            <a:ext cx="9337921" cy="1232066"/>
          </a:xfrm>
        </p:spPr>
        <p:txBody>
          <a:bodyPr/>
          <a:lstStyle/>
          <a:p>
            <a:pPr algn="l"/>
            <a:r>
              <a:rPr lang="it-IT" sz="2000" dirty="0" smtClean="0"/>
              <a:t>Chiara Castelli</a:t>
            </a:r>
            <a:br>
              <a:rPr lang="it-IT" sz="2000" dirty="0" smtClean="0"/>
            </a:br>
            <a:r>
              <a:rPr lang="it-IT" sz="2000" dirty="0" smtClean="0"/>
              <a:t>Tel. +39 348 1001107</a:t>
            </a:r>
            <a:br>
              <a:rPr lang="it-IT" sz="2000" dirty="0" smtClean="0"/>
            </a:br>
            <a:r>
              <a:rPr lang="it-IT" sz="2000" dirty="0" smtClean="0">
                <a:hlinkClick r:id="rId2"/>
              </a:rPr>
              <a:t>c.castelli@reply.eu</a:t>
            </a:r>
            <a:r>
              <a:rPr lang="it-IT" sz="2000" dirty="0" smtClean="0"/>
              <a:t/>
            </a:r>
            <a:br>
              <a:rPr lang="it-IT" sz="2000" dirty="0" smtClean="0"/>
            </a:br>
            <a:r>
              <a:rPr lang="it-IT" sz="2000" dirty="0" smtClean="0"/>
              <a:t>www.reply.com</a:t>
            </a:r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6637421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 build="p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hteck 4"/>
          <p:cNvSpPr/>
          <p:nvPr/>
        </p:nvSpPr>
        <p:spPr>
          <a:xfrm rot="5400000">
            <a:off x="4841700" y="-4373256"/>
            <a:ext cx="2520280" cy="120761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>
                <a:lumMod val="9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900" b="0" dirty="0">
              <a:solidFill>
                <a:srgbClr val="1DAC3E"/>
              </a:solidFill>
              <a:latin typeface="Arial Black"/>
              <a:cs typeface="Arial Black"/>
            </a:endParaRPr>
          </a:p>
        </p:txBody>
      </p:sp>
      <p:graphicFrame>
        <p:nvGraphicFramePr>
          <p:cNvPr id="6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93319260"/>
              </p:ext>
            </p:extLst>
          </p:nvPr>
        </p:nvGraphicFramePr>
        <p:xfrm>
          <a:off x="77227" y="620688"/>
          <a:ext cx="12062673" cy="21053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99956"/>
                <a:gridCol w="3779231"/>
                <a:gridCol w="3683486"/>
              </a:tblGrid>
              <a:tr h="149736">
                <a:tc gridSpan="3"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 Black" panose="020B0A04020102020204" pitchFamily="34" charset="0"/>
                          <a:cs typeface="Arial"/>
                        </a:rPr>
                        <a:t>EMITTENTI NUOVE nel periodo Gennaio 2017 – Febbraio 2018</a:t>
                      </a:r>
                    </a:p>
                    <a:p>
                      <a:pPr algn="ctr"/>
                      <a:endParaRPr lang="it-IT" sz="1800" b="0" i="0" baseline="0" noProof="0" dirty="0" smtClean="0">
                        <a:solidFill>
                          <a:srgbClr val="FFFFFF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</a:tr>
              <a:tr h="368032"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ME EMITTEN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CONCESSIONARIA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</a:tr>
              <a:tr h="311761"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RMC</a:t>
                      </a:r>
                      <a:r>
                        <a:rPr lang="it-IT" sz="1800" b="0" i="0" baseline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 Sport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MEDIAMOND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-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11761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11761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3" name="Rechteck 4"/>
          <p:cNvSpPr/>
          <p:nvPr/>
        </p:nvSpPr>
        <p:spPr>
          <a:xfrm rot="5400000">
            <a:off x="4841700" y="-1204904"/>
            <a:ext cx="2520280" cy="1207611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</a:pPr>
            <a:endParaRPr lang="de-DE" sz="1900" b="0" dirty="0">
              <a:solidFill>
                <a:srgbClr val="1DAC3E"/>
              </a:solidFill>
              <a:latin typeface="Arial Black"/>
              <a:cs typeface="Arial Black"/>
            </a:endParaRPr>
          </a:p>
        </p:txBody>
      </p:sp>
      <p:graphicFrame>
        <p:nvGraphicFramePr>
          <p:cNvPr id="12" name="Tabel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43300229"/>
              </p:ext>
            </p:extLst>
          </p:nvPr>
        </p:nvGraphicFramePr>
        <p:xfrm>
          <a:off x="80682" y="3861048"/>
          <a:ext cx="12063600" cy="214716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53806"/>
                <a:gridCol w="4113098"/>
                <a:gridCol w="3496696"/>
              </a:tblGrid>
              <a:tr h="660633">
                <a:tc gridSpan="3"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chemeClr val="tx1">
                              <a:lumMod val="50000"/>
                              <a:lumOff val="50000"/>
                            </a:schemeClr>
                          </a:solidFill>
                          <a:latin typeface="Arial Black" panose="020B0A04020102020204" pitchFamily="34" charset="0"/>
                          <a:cs typeface="Arial"/>
                        </a:rPr>
                        <a:t>EMITTENTI CHIUSE nel periodo Gennaio 2017 – Febbraio 2018</a:t>
                      </a:r>
                    </a:p>
                    <a:p>
                      <a:pPr algn="ctr"/>
                      <a:endParaRPr lang="it-IT" sz="1800" b="0" i="0" baseline="0" noProof="0" dirty="0" smtClean="0">
                        <a:solidFill>
                          <a:srgbClr val="FFFFFF"/>
                        </a:solidFill>
                        <a:latin typeface="Arial Black" panose="020B0A04020102020204" pitchFamily="34" charset="0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it-IT" dirty="0"/>
                    </a:p>
                  </a:txBody>
                  <a:tcPr/>
                </a:tc>
              </a:tr>
              <a:tr h="314587"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ME EMITTEN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CONCESSIONARIA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1" i="0" noProof="0" dirty="0" smtClean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j-lt"/>
                          <a:cs typeface="Arial"/>
                        </a:rPr>
                        <a:t>NOTE</a:t>
                      </a:r>
                      <a:endParaRPr lang="it-IT" sz="1800" b="1" i="0" noProof="0" dirty="0">
                        <a:solidFill>
                          <a:schemeClr val="tx1">
                            <a:lumMod val="75000"/>
                            <a:lumOff val="25000"/>
                          </a:schemeClr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B400"/>
                    </a:solidFill>
                  </a:tcPr>
                </a:tc>
              </a:tr>
              <a:tr h="321771"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-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-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it-IT" sz="1800" b="0" i="0" noProof="0" dirty="0" smtClean="0">
                          <a:solidFill>
                            <a:srgbClr val="000000"/>
                          </a:solidFill>
                          <a:latin typeface="+mj-lt"/>
                          <a:cs typeface="Arial"/>
                        </a:rPr>
                        <a:t>-</a:t>
                      </a:r>
                      <a:endParaRPr lang="it-IT" sz="1800" b="0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7505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377505"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it-IT" sz="1800" b="1" i="0" noProof="0" dirty="0">
                        <a:solidFill>
                          <a:srgbClr val="000000"/>
                        </a:solidFill>
                        <a:latin typeface="+mj-lt"/>
                        <a:cs typeface="Arial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1990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4000" y="179348"/>
            <a:ext cx="9144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Totale Fatturato 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(in migliaia di euro)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 e Avvisi</a:t>
            </a:r>
            <a:endParaRPr lang="it-IT" altLang="it-IT" sz="1800" dirty="0">
              <a:solidFill>
                <a:srgbClr val="A19DFB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Group 17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2586181"/>
              </p:ext>
            </p:extLst>
          </p:nvPr>
        </p:nvGraphicFramePr>
        <p:xfrm>
          <a:off x="74222" y="1027297"/>
          <a:ext cx="11953328" cy="4939948"/>
        </p:xfrm>
        <a:graphic>
          <a:graphicData uri="http://schemas.openxmlformats.org/drawingml/2006/table">
            <a:tbl>
              <a:tblPr/>
              <a:tblGrid>
                <a:gridCol w="911426"/>
                <a:gridCol w="1013322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693923"/>
                <a:gridCol w="864096"/>
              </a:tblGrid>
              <a:tr h="5514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o/</a:t>
                      </a:r>
                      <a:b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b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it-IT" sz="1300" b="1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</a:t>
                      </a:r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018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431423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b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tturato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22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75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63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61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78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60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4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08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57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.32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4.04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76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.98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97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84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72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50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6.47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33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8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.05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56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03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7.1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86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.81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.03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05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7.09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5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r>
                        <a:rPr lang="it-IT" sz="3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43353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  <a:b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vvisi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9.56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9.85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1.96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.48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4.3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6.4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0.56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6.43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.70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7.26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5.51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4.5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9.41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kumimoji="0" lang="it-IT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9.00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8.38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2.26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5.2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0.74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55.9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5.71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7.54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9.66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.41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4.21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8.47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17.38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.51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.74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4.26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4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3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56611534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 autoUpdateAnimBg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Box 66"/>
          <p:cNvSpPr txBox="1">
            <a:spLocks noChangeArrowheads="1"/>
          </p:cNvSpPr>
          <p:nvPr/>
        </p:nvSpPr>
        <p:spPr bwMode="auto">
          <a:xfrm>
            <a:off x="1524000" y="179348"/>
            <a:ext cx="9144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Tipologie di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Fatturato</a:t>
            </a:r>
            <a:r>
              <a:rPr lang="it-IT" altLang="it-IT" sz="1800" i="1" dirty="0" smtClean="0">
                <a:latin typeface="Arial Black" panose="020B0A04020102020204" pitchFamily="34" charset="0"/>
                <a:cs typeface="Arial" panose="020B0604020202020204" pitchFamily="34" charset="0"/>
              </a:rPr>
              <a:t> </a:t>
            </a:r>
            <a:r>
              <a:rPr lang="it-IT" altLang="it-IT" sz="1800" b="0" dirty="0" smtClean="0">
                <a:latin typeface="Arial" panose="020B0604020202020204" pitchFamily="34" charset="0"/>
                <a:cs typeface="Arial" panose="020B0604020202020204" pitchFamily="34" charset="0"/>
              </a:rPr>
              <a:t>(in 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migliaia di euro)</a:t>
            </a:r>
            <a:endParaRPr lang="it-IT" altLang="it-IT" sz="180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Group 17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34503769"/>
              </p:ext>
            </p:extLst>
          </p:nvPr>
        </p:nvGraphicFramePr>
        <p:xfrm>
          <a:off x="74222" y="1027297"/>
          <a:ext cx="11953328" cy="5000948"/>
        </p:xfrm>
        <a:graphic>
          <a:graphicData uri="http://schemas.openxmlformats.org/drawingml/2006/table">
            <a:tbl>
              <a:tblPr/>
              <a:tblGrid>
                <a:gridCol w="911426"/>
                <a:gridCol w="1013322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770051"/>
                <a:gridCol w="693923"/>
                <a:gridCol w="864096"/>
              </a:tblGrid>
              <a:tr h="5514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nno/</a:t>
                      </a:r>
                      <a:b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e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tt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v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c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1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b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it-IT" sz="1300" b="1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</a:t>
                      </a:r>
                      <a:r>
                        <a:rPr lang="it-IT" sz="1300" b="1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2018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2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431423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tturato Tabellare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14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82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21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09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46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82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8.03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8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90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.09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1.4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21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1.96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8.79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27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.72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47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14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9.48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26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.1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.99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4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3.84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6.35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2.06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65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3.49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.14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6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,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6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0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1,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43353">
                <a:tc rowSpan="6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atturato extra-tabellare</a:t>
                      </a:r>
                      <a:endParaRPr kumimoji="0" lang="it-IT" sz="1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0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93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4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1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77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39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89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67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23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62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55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01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</a:t>
                      </a:r>
                      <a:endParaRPr kumimoji="0" lang="it-IT" sz="13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17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57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0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03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33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85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61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91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7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59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2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0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74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38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.56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.94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7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8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8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7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19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9,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0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3,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0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5,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29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8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343353"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6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7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2,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0,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6125">
                <a:tc vMerge="1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1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8/2017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,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,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1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3,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90687129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utoUpdateAnimBg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4000" y="182882"/>
            <a:ext cx="91440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Numero di Avvisi Nazionale</a:t>
            </a:r>
            <a:endParaRPr lang="it-IT" altLang="it-IT" sz="1800" dirty="0">
              <a:solidFill>
                <a:srgbClr val="A19DFB"/>
              </a:solidFill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Group 17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263394"/>
              </p:ext>
            </p:extLst>
          </p:nvPr>
        </p:nvGraphicFramePr>
        <p:xfrm>
          <a:off x="119336" y="836712"/>
          <a:ext cx="11891446" cy="5228843"/>
        </p:xfrm>
        <a:graphic>
          <a:graphicData uri="http://schemas.openxmlformats.org/drawingml/2006/table">
            <a:tbl>
              <a:tblPr/>
              <a:tblGrid>
                <a:gridCol w="350215"/>
                <a:gridCol w="863428"/>
                <a:gridCol w="217062"/>
                <a:gridCol w="891552"/>
                <a:gridCol w="875384"/>
                <a:gridCol w="217062"/>
                <a:gridCol w="851770"/>
                <a:gridCol w="816991"/>
                <a:gridCol w="839193"/>
                <a:gridCol w="810963"/>
                <a:gridCol w="845221"/>
                <a:gridCol w="828674"/>
                <a:gridCol w="891643"/>
                <a:gridCol w="864096"/>
                <a:gridCol w="864096"/>
                <a:gridCol w="864096"/>
              </a:tblGrid>
              <a:tr h="28803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14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tale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gridSpan="2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lt; 15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kern="12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kern="12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kern="1200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5’’ e 30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&gt;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0’’ Avvisi</a:t>
                      </a: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4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52233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si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rowSpan="16"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300" b="0" i="1" u="none" strike="noStrike" kern="1200" dirty="0" smtClean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7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7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7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7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7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>
                        <a:alpha val="7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°</a:t>
                      </a:r>
                      <a:r>
                        <a:rPr lang="it-IT" sz="1300" b="0" i="0" u="none" strike="noStrike" baseline="0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vvisi</a:t>
                      </a:r>
                      <a:endParaRPr lang="it-IT" sz="1300" b="0" i="0" u="none" strike="noStrike" dirty="0" smtClean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0014" marR="90014" marT="46807" marB="46807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300" b="0" i="0" u="none" strike="noStrike" dirty="0" err="1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ff</a:t>
                      </a:r>
                      <a:r>
                        <a:rPr lang="it-IT" sz="1300" b="0" i="0" u="none" strike="noStrike" dirty="0" smtClean="0">
                          <a:solidFill>
                            <a:schemeClr val="bg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% sul 2017</a:t>
                      </a:r>
                    </a:p>
                  </a:txBody>
                  <a:tcPr marL="90014" marR="90014" marT="46807" marB="46807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</a:tr>
              <a:tr h="12988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endParaRPr lang="it-IT" sz="300" dirty="0"/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Arial"/>
                        </a:defRPr>
                      </a:lvl9pPr>
                    </a:lstStyle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300" b="1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1305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en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01.512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2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37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23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9.90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2,3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7.72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5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62.73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06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46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086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22.74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.941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37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4.335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9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0.27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7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2.42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0,5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774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18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DE88D"/>
                    </a:solidFill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r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1305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pr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0086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ag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iu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</a:tr>
              <a:tr h="313051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ug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</a:tr>
              <a:tr h="300865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go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Set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Ott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Nov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</a:pPr>
                      <a:r>
                        <a:rPr lang="it-IT" sz="1300" b="1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Dic-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 smtClean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</a:t>
                      </a:r>
                      <a:endParaRPr lang="it-IT" sz="1300" b="0" i="1" u="none" strike="noStrike" dirty="0">
                        <a:solidFill>
                          <a:srgbClr val="80808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kumimoji="0" lang="it-IT" sz="3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1454" marR="91454" marT="45700" marB="45700" anchor="ctr" horzOverflow="overflow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ctr"/>
                      <a:endParaRPr lang="it-IT" sz="1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0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288680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it-IT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</a:t>
                      </a: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</a:t>
                      </a:r>
                      <a:r>
                        <a:rPr kumimoji="0" lang="it-IT" sz="13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eb</a:t>
                      </a:r>
                      <a:r>
                        <a:rPr kumimoji="0" lang="it-IT" sz="13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2018</a:t>
                      </a:r>
                    </a:p>
                  </a:txBody>
                  <a:tcPr marL="91454" marR="91454" marT="45700" marB="45700" anchor="ctr" horzOverflow="overflow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576B8A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it-IT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algn="ctr" fontAlgn="b"/>
                      <a:endParaRPr lang="it-IT" sz="100" b="1" i="1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224.26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3,2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it-IT" sz="1300" b="1" i="0" u="none" strike="noStrike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5.578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84,7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44.239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6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38.00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6,9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5.163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1,1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.280</a:t>
                      </a:r>
                    </a:p>
                  </a:txBody>
                  <a:tcPr marL="0" marR="0" marT="0" marB="0" anchor="ctr">
                    <a:lnL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300" b="1" i="1" u="none" strike="noStrike" dirty="0">
                          <a:solidFill>
                            <a:srgbClr val="808080"/>
                          </a:solidFill>
                          <a:effectLst/>
                          <a:latin typeface="Arial" panose="020B0604020202020204" pitchFamily="34" charset="0"/>
                        </a:rPr>
                        <a:t>-32,6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50196"/>
                      </a:srgbClr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55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Box 66"/>
          <p:cNvSpPr txBox="1">
            <a:spLocks noChangeArrowheads="1"/>
          </p:cNvSpPr>
          <p:nvPr/>
        </p:nvSpPr>
        <p:spPr bwMode="auto">
          <a:xfrm>
            <a:off x="1415480" y="185130"/>
            <a:ext cx="9473710" cy="369332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ts val="600"/>
              </a:spcBef>
              <a:buClrTx/>
              <a:buFont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Peso % delle diverse tipologie di avvisi, sulla base della durata </a:t>
            </a:r>
            <a:r>
              <a:rPr lang="it-IT" altLang="it-IT" sz="18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 secondi)</a:t>
            </a:r>
            <a:endParaRPr lang="it-IT" altLang="it-IT" sz="1800" b="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Gruppo 1"/>
          <p:cNvGrpSpPr/>
          <p:nvPr/>
        </p:nvGrpSpPr>
        <p:grpSpPr>
          <a:xfrm>
            <a:off x="895516" y="1052736"/>
            <a:ext cx="10400967" cy="5637977"/>
            <a:chOff x="837565" y="1072551"/>
            <a:chExt cx="10400967" cy="5637977"/>
          </a:xfrm>
        </p:grpSpPr>
        <p:sp>
          <p:nvSpPr>
            <p:cNvPr id="9" name="CasellaDiTesto 8"/>
            <p:cNvSpPr txBox="1"/>
            <p:nvPr/>
          </p:nvSpPr>
          <p:spPr>
            <a:xfrm>
              <a:off x="5977384" y="1072551"/>
              <a:ext cx="3528392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ctr"/>
              <a:r>
                <a:rPr lang="it-IT" sz="1400" dirty="0" err="1" smtClean="0">
                  <a:solidFill>
                    <a:schemeClr val="bg1">
                      <a:lumMod val="50000"/>
                    </a:schemeClr>
                  </a:solidFill>
                </a:rPr>
                <a:t>Prog</a:t>
              </a:r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</a:rPr>
                <a:t>. 2017</a:t>
              </a:r>
            </a:p>
            <a:p>
              <a:pPr algn="ctr" fontAlgn="ctr"/>
              <a:endParaRPr lang="it-IT" sz="5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 fontAlgn="ctr"/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</a:rPr>
                <a:t>5.456.043</a:t>
              </a:r>
              <a:endParaRPr lang="it-IT" sz="1400" b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1" name="CasellaDiTesto 10"/>
            <p:cNvSpPr txBox="1"/>
            <p:nvPr/>
          </p:nvSpPr>
          <p:spPr>
            <a:xfrm>
              <a:off x="7710140" y="1072551"/>
              <a:ext cx="3528392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400" dirty="0" err="1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rog</a:t>
              </a:r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. 2018</a:t>
              </a: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endParaRPr lang="it-IT" sz="500" b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endParaRP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.565.903</a:t>
              </a:r>
              <a:endParaRPr lang="it-IT" sz="1400" b="0" i="0" u="none" strike="noStrike" dirty="0"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</a:endParaRPr>
            </a:p>
          </p:txBody>
        </p:sp>
        <p:graphicFrame>
          <p:nvGraphicFramePr>
            <p:cNvPr id="6" name="Grafico 5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044871418"/>
                </p:ext>
              </p:extLst>
            </p:nvPr>
          </p:nvGraphicFramePr>
          <p:xfrm>
            <a:off x="1595500" y="1672715"/>
            <a:ext cx="9001000" cy="5037813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8" name="CasellaDiTesto 7"/>
            <p:cNvSpPr txBox="1"/>
            <p:nvPr/>
          </p:nvSpPr>
          <p:spPr>
            <a:xfrm>
              <a:off x="837565" y="1072551"/>
              <a:ext cx="3528392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ctr"/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</a:rPr>
                <a:t>Gennaio 2018</a:t>
              </a:r>
            </a:p>
            <a:p>
              <a:pPr algn="ctr" fontAlgn="ctr"/>
              <a:endParaRPr lang="it-IT" sz="500" b="0" dirty="0">
                <a:solidFill>
                  <a:schemeClr val="bg1">
                    <a:lumMod val="50000"/>
                  </a:schemeClr>
                </a:solidFill>
              </a:endParaRPr>
            </a:p>
            <a:p>
              <a:pPr algn="ctr" fontAlgn="ctr"/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</a:rPr>
                <a:t>2.556.336</a:t>
              </a:r>
              <a:endParaRPr lang="it-IT" sz="1400" b="0" dirty="0">
                <a:solidFill>
                  <a:schemeClr val="bg1">
                    <a:lumMod val="50000"/>
                  </a:schemeClr>
                </a:solidFill>
              </a:endParaRPr>
            </a:p>
          </p:txBody>
        </p:sp>
        <p:sp>
          <p:nvSpPr>
            <p:cNvPr id="10" name="CasellaDiTesto 9"/>
            <p:cNvSpPr txBox="1"/>
            <p:nvPr/>
          </p:nvSpPr>
          <p:spPr>
            <a:xfrm>
              <a:off x="2634680" y="1072551"/>
              <a:ext cx="3528392" cy="60016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ebbraio 2018</a:t>
              </a: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endParaRPr lang="it-IT" sz="500" b="0" dirty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</a:endParaRPr>
            </a:p>
            <a:p>
              <a:pPr algn="ctr" fontAlgn="ctr">
                <a:spcBef>
                  <a:spcPts val="0"/>
                </a:spcBef>
                <a:spcAft>
                  <a:spcPts val="0"/>
                </a:spcAft>
              </a:pPr>
              <a:r>
                <a:rPr lang="it-IT" sz="1400" dirty="0" smtClean="0">
                  <a:solidFill>
                    <a:schemeClr val="bg1">
                      <a:lumMod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.009.567</a:t>
              </a:r>
              <a:endParaRPr lang="it-IT" sz="1400" b="0" i="0" u="none" strike="noStrike" dirty="0">
                <a:solidFill>
                  <a:schemeClr val="bg1">
                    <a:lumMod val="50000"/>
                  </a:schemeClr>
                </a:solidFill>
                <a:effectLst/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57969306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Box 66"/>
          <p:cNvSpPr txBox="1">
            <a:spLocks noChangeArrowheads="1"/>
          </p:cNvSpPr>
          <p:nvPr/>
        </p:nvSpPr>
        <p:spPr bwMode="auto">
          <a:xfrm>
            <a:off x="1415480" y="185130"/>
            <a:ext cx="9473710" cy="646331"/>
          </a:xfrm>
          <a:prstGeom prst="rect">
            <a:avLst/>
          </a:prstGeom>
          <a:solidFill>
            <a:schemeClr val="bg1"/>
          </a:solidFill>
          <a:ln>
            <a:noFill/>
          </a:ln>
          <a:extLst/>
        </p:spPr>
        <p:txBody>
          <a:bodyPr wrap="square"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ts val="600"/>
              </a:spcBef>
              <a:buClrTx/>
              <a:buFontTx/>
              <a:buNone/>
            </a:pP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Trend storico del peso 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% delle diverse tipologie di avvisi, sulla base della durata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a Febbraio di ciascun anno </a:t>
            </a:r>
            <a:r>
              <a:rPr lang="it-IT" altLang="it-IT" sz="1800" b="0" dirty="0" smtClean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in </a:t>
            </a:r>
            <a:r>
              <a:rPr lang="it-IT" altLang="it-IT" sz="1800" b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ondi)</a:t>
            </a:r>
            <a:endParaRPr lang="it-IT" altLang="it-IT" sz="1800" b="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Grafico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44714469"/>
              </p:ext>
            </p:extLst>
          </p:nvPr>
        </p:nvGraphicFramePr>
        <p:xfrm>
          <a:off x="839416" y="1340768"/>
          <a:ext cx="10513168" cy="496855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763959666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6" grpId="0" animBg="1"/>
      <p:bldGraphic spid="5" grpId="0">
        <p:bldAsOne/>
      </p:bldGraphic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5366" y="-2228"/>
            <a:ext cx="9144000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Fatturato Totale 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(in migliaia di euro)</a:t>
            </a:r>
            <a:endParaRPr lang="it-IT" altLang="it-IT" sz="1800" b="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spcBef>
                <a:spcPct val="50000"/>
              </a:spcBef>
              <a:buClrTx/>
              <a:buFontTx/>
              <a:buNone/>
            </a:pP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Trend 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mensile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Gennaio 2007 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–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Febbraio 2018</a:t>
            </a:r>
            <a:endParaRPr lang="it-IT" altLang="it-IT" sz="1800" dirty="0"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Gruppo 1"/>
          <p:cNvGrpSpPr/>
          <p:nvPr/>
        </p:nvGrpSpPr>
        <p:grpSpPr>
          <a:xfrm>
            <a:off x="371344" y="1067622"/>
            <a:ext cx="11449312" cy="5889074"/>
            <a:chOff x="119336" y="1067622"/>
            <a:chExt cx="11449312" cy="5889074"/>
          </a:xfrm>
        </p:grpSpPr>
        <p:sp>
          <p:nvSpPr>
            <p:cNvPr id="34" name="Rettangolo 33"/>
            <p:cNvSpPr/>
            <p:nvPr/>
          </p:nvSpPr>
          <p:spPr bwMode="auto">
            <a:xfrm>
              <a:off x="6378053" y="1444446"/>
              <a:ext cx="921600" cy="4356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36" name="Rettangolo 35"/>
            <p:cNvSpPr/>
            <p:nvPr/>
          </p:nvSpPr>
          <p:spPr bwMode="auto">
            <a:xfrm>
              <a:off x="2715501" y="1440167"/>
              <a:ext cx="921600" cy="4356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 dirty="0"/>
            </a:p>
          </p:txBody>
        </p:sp>
        <p:sp>
          <p:nvSpPr>
            <p:cNvPr id="37" name="Rettangolo 36"/>
            <p:cNvSpPr/>
            <p:nvPr/>
          </p:nvSpPr>
          <p:spPr bwMode="auto">
            <a:xfrm>
              <a:off x="879236" y="1440995"/>
              <a:ext cx="921600" cy="4356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38" name="Rettangolo 37"/>
            <p:cNvSpPr/>
            <p:nvPr/>
          </p:nvSpPr>
          <p:spPr bwMode="auto">
            <a:xfrm>
              <a:off x="4547465" y="1440169"/>
              <a:ext cx="921600" cy="4356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48" name="CasellaDiTesto 47"/>
            <p:cNvSpPr txBox="1"/>
            <p:nvPr/>
          </p:nvSpPr>
          <p:spPr>
            <a:xfrm>
              <a:off x="911714" y="1127834"/>
              <a:ext cx="864000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7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Rettangolo 49"/>
            <p:cNvSpPr/>
            <p:nvPr/>
          </p:nvSpPr>
          <p:spPr bwMode="auto">
            <a:xfrm>
              <a:off x="8224948" y="1439637"/>
              <a:ext cx="921600" cy="4356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graphicFrame>
          <p:nvGraphicFramePr>
            <p:cNvPr id="53" name="Grafico 52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2575038943"/>
                </p:ext>
              </p:extLst>
            </p:nvPr>
          </p:nvGraphicFramePr>
          <p:xfrm>
            <a:off x="769076" y="1067622"/>
            <a:ext cx="10799572" cy="515790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2"/>
            </a:graphicData>
          </a:graphic>
        </p:graphicFrame>
        <p:sp>
          <p:nvSpPr>
            <p:cNvPr id="54" name="Rettangolo 53"/>
            <p:cNvSpPr/>
            <p:nvPr/>
          </p:nvSpPr>
          <p:spPr bwMode="auto">
            <a:xfrm>
              <a:off x="10059350" y="1443844"/>
              <a:ext cx="910800" cy="4356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23" name="CasellaDiTesto 22"/>
            <p:cNvSpPr txBox="1"/>
            <p:nvPr/>
          </p:nvSpPr>
          <p:spPr>
            <a:xfrm>
              <a:off x="1838460" y="1129500"/>
              <a:ext cx="846000" cy="27277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8</a:t>
              </a:r>
            </a:p>
          </p:txBody>
        </p:sp>
        <p:sp>
          <p:nvSpPr>
            <p:cNvPr id="24" name="CasellaDiTesto 23"/>
            <p:cNvSpPr txBox="1"/>
            <p:nvPr/>
          </p:nvSpPr>
          <p:spPr>
            <a:xfrm>
              <a:off x="2745510" y="1130319"/>
              <a:ext cx="864000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9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CasellaDiTesto 27"/>
            <p:cNvSpPr txBox="1"/>
            <p:nvPr/>
          </p:nvSpPr>
          <p:spPr>
            <a:xfrm>
              <a:off x="4580363" y="1130319"/>
              <a:ext cx="864000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1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0" name="CasellaDiTesto 29"/>
            <p:cNvSpPr txBox="1"/>
            <p:nvPr/>
          </p:nvSpPr>
          <p:spPr>
            <a:xfrm>
              <a:off x="3662777" y="1129166"/>
              <a:ext cx="846000" cy="27277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0</a:t>
              </a:r>
            </a:p>
          </p:txBody>
        </p:sp>
        <p:sp>
          <p:nvSpPr>
            <p:cNvPr id="35" name="CasellaDiTesto 34"/>
            <p:cNvSpPr txBox="1"/>
            <p:nvPr/>
          </p:nvSpPr>
          <p:spPr>
            <a:xfrm>
              <a:off x="5502711" y="1127284"/>
              <a:ext cx="846000" cy="27277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2</a:t>
              </a:r>
            </a:p>
          </p:txBody>
        </p:sp>
        <p:sp>
          <p:nvSpPr>
            <p:cNvPr id="40" name="CasellaDiTesto 39"/>
            <p:cNvSpPr txBox="1"/>
            <p:nvPr/>
          </p:nvSpPr>
          <p:spPr>
            <a:xfrm>
              <a:off x="6408768" y="1130459"/>
              <a:ext cx="864000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3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1" name="CasellaDiTesto 40"/>
            <p:cNvSpPr txBox="1"/>
            <p:nvPr/>
          </p:nvSpPr>
          <p:spPr>
            <a:xfrm>
              <a:off x="7351315" y="1129212"/>
              <a:ext cx="846000" cy="27277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4</a:t>
              </a:r>
            </a:p>
          </p:txBody>
        </p:sp>
        <p:sp>
          <p:nvSpPr>
            <p:cNvPr id="42" name="CasellaDiTesto 41"/>
            <p:cNvSpPr txBox="1"/>
            <p:nvPr/>
          </p:nvSpPr>
          <p:spPr>
            <a:xfrm>
              <a:off x="8261345" y="1130957"/>
              <a:ext cx="864000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5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7" name="CasellaDiTesto 56"/>
            <p:cNvSpPr txBox="1"/>
            <p:nvPr/>
          </p:nvSpPr>
          <p:spPr>
            <a:xfrm>
              <a:off x="9185543" y="1125862"/>
              <a:ext cx="846000" cy="27277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6</a:t>
              </a:r>
            </a:p>
          </p:txBody>
        </p:sp>
        <p:sp>
          <p:nvSpPr>
            <p:cNvPr id="58" name="CasellaDiTesto 57"/>
            <p:cNvSpPr txBox="1"/>
            <p:nvPr/>
          </p:nvSpPr>
          <p:spPr>
            <a:xfrm>
              <a:off x="10098284" y="1127483"/>
              <a:ext cx="846000" cy="27277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smtClean="0">
                  <a:latin typeface="Arial" panose="020B0604020202020204" pitchFamily="34" charset="0"/>
                  <a:cs typeface="Arial" panose="020B0604020202020204" pitchFamily="34" charset="0"/>
                </a:rPr>
                <a:t>2017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CasellaDiTesto 28"/>
            <p:cNvSpPr txBox="1"/>
            <p:nvPr/>
          </p:nvSpPr>
          <p:spPr>
            <a:xfrm>
              <a:off x="11029088" y="1125862"/>
              <a:ext cx="504000" cy="26161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8</a:t>
              </a:r>
            </a:p>
          </p:txBody>
        </p:sp>
        <p:graphicFrame>
          <p:nvGraphicFramePr>
            <p:cNvPr id="26" name="Grafico 25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868862849"/>
                </p:ext>
              </p:extLst>
            </p:nvPr>
          </p:nvGraphicFramePr>
          <p:xfrm>
            <a:off x="119336" y="1268760"/>
            <a:ext cx="11089232" cy="5687936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971016765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 autoUpdateAnimBg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418" name="Text Box 66"/>
          <p:cNvSpPr txBox="1">
            <a:spLocks noChangeArrowheads="1"/>
          </p:cNvSpPr>
          <p:nvPr/>
        </p:nvSpPr>
        <p:spPr bwMode="auto">
          <a:xfrm>
            <a:off x="1524000" y="0"/>
            <a:ext cx="9144000" cy="7848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tx2"/>
              </a:buClr>
              <a:buChar char="–"/>
              <a:defRPr sz="28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tx2"/>
              </a:buClr>
              <a:buChar char="•"/>
              <a:defRPr sz="16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20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ctr" eaLnBrk="1" hangingPunct="1">
              <a:spcBef>
                <a:spcPct val="50000"/>
              </a:spcBef>
              <a:buClrTx/>
              <a:buNone/>
            </a:pP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      Fatturato Totale </a:t>
            </a:r>
            <a:r>
              <a:rPr lang="it-IT" altLang="it-IT" sz="1800" b="0" dirty="0">
                <a:latin typeface="Arial" panose="020B0604020202020204" pitchFamily="34" charset="0"/>
                <a:cs typeface="Arial" panose="020B0604020202020204" pitchFamily="34" charset="0"/>
              </a:rPr>
              <a:t>(in migliaia di euro)</a:t>
            </a:r>
            <a:endParaRPr lang="it-IT" altLang="it-IT" sz="1800" b="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eaLnBrk="1" hangingPunct="1">
              <a:spcBef>
                <a:spcPct val="50000"/>
              </a:spcBef>
              <a:buClrTx/>
              <a:buNone/>
            </a:pP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Media </a:t>
            </a:r>
            <a:r>
              <a:rPr lang="it-IT" altLang="it-IT" sz="1800" dirty="0">
                <a:latin typeface="Arial Black" panose="020B0A04020102020204" pitchFamily="34" charset="0"/>
                <a:cs typeface="Arial" panose="020B0604020202020204" pitchFamily="34" charset="0"/>
              </a:rPr>
              <a:t>mobile Gennaio 2007 – </a:t>
            </a:r>
            <a:r>
              <a:rPr lang="it-IT" altLang="it-IT" sz="1800" dirty="0" smtClean="0">
                <a:latin typeface="Arial Black" panose="020B0A04020102020204" pitchFamily="34" charset="0"/>
                <a:cs typeface="Arial" panose="020B0604020202020204" pitchFamily="34" charset="0"/>
              </a:rPr>
              <a:t>Febbraio 2018</a:t>
            </a:r>
            <a:endParaRPr lang="it-IT" altLang="it-IT" sz="1600" dirty="0">
              <a:solidFill>
                <a:srgbClr val="A19DF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" name="Gruppo 1"/>
          <p:cNvGrpSpPr/>
          <p:nvPr/>
        </p:nvGrpSpPr>
        <p:grpSpPr>
          <a:xfrm>
            <a:off x="437168" y="986162"/>
            <a:ext cx="11317664" cy="5871838"/>
            <a:chOff x="315332" y="986162"/>
            <a:chExt cx="11317664" cy="5871838"/>
          </a:xfrm>
        </p:grpSpPr>
        <p:sp>
          <p:nvSpPr>
            <p:cNvPr id="25" name="Rettangolo 24"/>
            <p:cNvSpPr/>
            <p:nvPr/>
          </p:nvSpPr>
          <p:spPr bwMode="auto">
            <a:xfrm>
              <a:off x="7057503" y="1428904"/>
              <a:ext cx="1000800" cy="4356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30" name="Rettangolo 29"/>
            <p:cNvSpPr/>
            <p:nvPr/>
          </p:nvSpPr>
          <p:spPr bwMode="auto">
            <a:xfrm>
              <a:off x="3036811" y="1424625"/>
              <a:ext cx="1000800" cy="4356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 dirty="0"/>
            </a:p>
          </p:txBody>
        </p:sp>
        <p:sp>
          <p:nvSpPr>
            <p:cNvPr id="31" name="Rettangolo 30"/>
            <p:cNvSpPr/>
            <p:nvPr/>
          </p:nvSpPr>
          <p:spPr bwMode="auto">
            <a:xfrm>
              <a:off x="1025286" y="1425453"/>
              <a:ext cx="1000800" cy="4356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32" name="Rettangolo 31"/>
            <p:cNvSpPr/>
            <p:nvPr/>
          </p:nvSpPr>
          <p:spPr bwMode="auto">
            <a:xfrm>
              <a:off x="5051655" y="1424627"/>
              <a:ext cx="1000800" cy="4356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33" name="CasellaDiTesto 32"/>
            <p:cNvSpPr txBox="1"/>
            <p:nvPr/>
          </p:nvSpPr>
          <p:spPr>
            <a:xfrm>
              <a:off x="1079354" y="988134"/>
              <a:ext cx="936000" cy="26161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8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4" name="Rettangolo 33"/>
            <p:cNvSpPr/>
            <p:nvPr/>
          </p:nvSpPr>
          <p:spPr bwMode="auto">
            <a:xfrm>
              <a:off x="9056798" y="1424095"/>
              <a:ext cx="1000800" cy="4356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graphicFrame>
          <p:nvGraphicFramePr>
            <p:cNvPr id="40" name="Grafico 39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3992264749"/>
                </p:ext>
              </p:extLst>
            </p:nvPr>
          </p:nvGraphicFramePr>
          <p:xfrm>
            <a:off x="648830" y="1421284"/>
            <a:ext cx="10799572" cy="477404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41" name="Rettangolo 40"/>
            <p:cNvSpPr/>
            <p:nvPr/>
          </p:nvSpPr>
          <p:spPr bwMode="auto">
            <a:xfrm>
              <a:off x="11077890" y="1428302"/>
              <a:ext cx="154800" cy="4356000"/>
            </a:xfrm>
            <a:prstGeom prst="rect">
              <a:avLst/>
            </a:prstGeom>
            <a:solidFill>
              <a:schemeClr val="bg1">
                <a:lumMod val="85000"/>
                <a:alpha val="20000"/>
              </a:schemeClr>
            </a:solidFill>
            <a:ln w="6350">
              <a:solidFill>
                <a:schemeClr val="bg1">
                  <a:lumMod val="95000"/>
                </a:schemeClr>
              </a:solidFill>
              <a:round/>
              <a:headEnd/>
              <a:tailEnd/>
            </a:ln>
          </p:spPr>
          <p:txBody>
            <a:bodyPr wrap="square" rtlCol="0" anchor="ctr">
              <a:spAutoFit/>
            </a:bodyPr>
            <a:lstStyle/>
            <a:p>
              <a:pPr algn="ctr"/>
              <a:endParaRPr lang="it-IT"/>
            </a:p>
          </p:txBody>
        </p:sp>
        <p:sp>
          <p:nvSpPr>
            <p:cNvPr id="42" name="CasellaDiTesto 41"/>
            <p:cNvSpPr txBox="1"/>
            <p:nvPr/>
          </p:nvSpPr>
          <p:spPr>
            <a:xfrm>
              <a:off x="2100715" y="989800"/>
              <a:ext cx="900000" cy="26161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09</a:t>
              </a:r>
            </a:p>
          </p:txBody>
        </p:sp>
        <p:sp>
          <p:nvSpPr>
            <p:cNvPr id="46" name="CasellaDiTesto 45"/>
            <p:cNvSpPr txBox="1"/>
            <p:nvPr/>
          </p:nvSpPr>
          <p:spPr>
            <a:xfrm>
              <a:off x="3090950" y="990619"/>
              <a:ext cx="936000" cy="26161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0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7" name="CasellaDiTesto 46"/>
            <p:cNvSpPr txBox="1"/>
            <p:nvPr/>
          </p:nvSpPr>
          <p:spPr>
            <a:xfrm>
              <a:off x="5103603" y="990619"/>
              <a:ext cx="936000" cy="26161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2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8" name="CasellaDiTesto 47"/>
            <p:cNvSpPr txBox="1"/>
            <p:nvPr/>
          </p:nvSpPr>
          <p:spPr>
            <a:xfrm>
              <a:off x="4111087" y="989466"/>
              <a:ext cx="900000" cy="26161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1</a:t>
              </a:r>
            </a:p>
          </p:txBody>
        </p:sp>
        <p:sp>
          <p:nvSpPr>
            <p:cNvPr id="49" name="CasellaDiTesto 48"/>
            <p:cNvSpPr txBox="1"/>
            <p:nvPr/>
          </p:nvSpPr>
          <p:spPr>
            <a:xfrm>
              <a:off x="6119296" y="987584"/>
              <a:ext cx="900000" cy="26161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3</a:t>
              </a:r>
            </a:p>
          </p:txBody>
        </p:sp>
        <p:sp>
          <p:nvSpPr>
            <p:cNvPr id="50" name="CasellaDiTesto 49"/>
            <p:cNvSpPr txBox="1"/>
            <p:nvPr/>
          </p:nvSpPr>
          <p:spPr>
            <a:xfrm>
              <a:off x="7100283" y="990759"/>
              <a:ext cx="936000" cy="26161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4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1" name="CasellaDiTesto 50"/>
            <p:cNvSpPr txBox="1"/>
            <p:nvPr/>
          </p:nvSpPr>
          <p:spPr>
            <a:xfrm>
              <a:off x="8127920" y="989512"/>
              <a:ext cx="900000" cy="26161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5</a:t>
              </a:r>
            </a:p>
          </p:txBody>
        </p:sp>
        <p:sp>
          <p:nvSpPr>
            <p:cNvPr id="52" name="CasellaDiTesto 51"/>
            <p:cNvSpPr txBox="1"/>
            <p:nvPr/>
          </p:nvSpPr>
          <p:spPr>
            <a:xfrm>
              <a:off x="9102085" y="991257"/>
              <a:ext cx="936000" cy="26161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6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CasellaDiTesto 52"/>
            <p:cNvSpPr txBox="1"/>
            <p:nvPr/>
          </p:nvSpPr>
          <p:spPr>
            <a:xfrm>
              <a:off x="10127248" y="986162"/>
              <a:ext cx="900000" cy="261610"/>
            </a:xfrm>
            <a:prstGeom prst="rect">
              <a:avLst/>
            </a:prstGeom>
            <a:noFill/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7</a:t>
              </a:r>
            </a:p>
          </p:txBody>
        </p:sp>
        <p:sp>
          <p:nvSpPr>
            <p:cNvPr id="54" name="CasellaDiTesto 53"/>
            <p:cNvSpPr txBox="1"/>
            <p:nvPr/>
          </p:nvSpPr>
          <p:spPr>
            <a:xfrm>
              <a:off x="11111594" y="986162"/>
              <a:ext cx="521402" cy="261610"/>
            </a:xfrm>
            <a:prstGeom prst="rect">
              <a:avLst/>
            </a:prstGeom>
            <a:solidFill>
              <a:srgbClr val="D9D9D9">
                <a:alpha val="20000"/>
              </a:srgbClr>
            </a:solidFill>
            <a:ln>
              <a:solidFill>
                <a:srgbClr val="D9D9D9">
                  <a:alpha val="20000"/>
                </a:srgbClr>
              </a:solidFill>
            </a:ln>
          </p:spPr>
          <p:txBody>
            <a:bodyPr wrap="square">
              <a:spAutoFit/>
            </a:bodyPr>
            <a:lstStyle/>
            <a:p>
              <a:pPr algn="ctr">
                <a:defRPr/>
              </a:pPr>
              <a:r>
                <a:rPr lang="it-IT" dirty="0" smtClean="0">
                  <a:latin typeface="Arial" panose="020B0604020202020204" pitchFamily="34" charset="0"/>
                  <a:cs typeface="Arial" panose="020B0604020202020204" pitchFamily="34" charset="0"/>
                </a:rPr>
                <a:t>2018</a:t>
              </a:r>
              <a:endParaRPr lang="it-IT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aphicFrame>
          <p:nvGraphicFramePr>
            <p:cNvPr id="23" name="Grafico 22"/>
            <p:cNvGraphicFramePr>
              <a:graphicFrameLocks/>
            </p:cNvGraphicFramePr>
            <p:nvPr>
              <p:extLst>
                <p:ext uri="{D42A27DB-BD31-4B8C-83A1-F6EECF244321}">
                  <p14:modId xmlns:p14="http://schemas.microsoft.com/office/powerpoint/2010/main" val="485793357"/>
                </p:ext>
              </p:extLst>
            </p:nvPr>
          </p:nvGraphicFramePr>
          <p:xfrm>
            <a:off x="315332" y="1247772"/>
            <a:ext cx="11156016" cy="5610228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</p:grpSp>
    </p:spTree>
    <p:extLst>
      <p:ext uri="{BB962C8B-B14F-4D97-AF65-F5344CB8AC3E}">
        <p14:creationId xmlns:p14="http://schemas.microsoft.com/office/powerpoint/2010/main" val="3012765904"/>
      </p:ext>
    </p:extLst>
  </p:cSld>
  <p:clrMapOvr>
    <a:masterClrMapping/>
  </p:clrMapOvr>
  <p:transition spd="med">
    <p:strips dir="rd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04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5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0418" grpId="0" autoUpdateAnimBg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Default Design">
  <a:themeElements>
    <a:clrScheme name="1_Default Design 7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3399FF"/>
      </a:accent1>
      <a:accent2>
        <a:srgbClr val="99FFCC"/>
      </a:accent2>
      <a:accent3>
        <a:srgbClr val="FFFFFF"/>
      </a:accent3>
      <a:accent4>
        <a:srgbClr val="000000"/>
      </a:accent4>
      <a:accent5>
        <a:srgbClr val="ADCAFF"/>
      </a:accent5>
      <a:accent6>
        <a:srgbClr val="8AE7B9"/>
      </a:accent6>
      <a:hlink>
        <a:srgbClr val="CC00CC"/>
      </a:hlink>
      <a:folHlink>
        <a:srgbClr val="B2B2B2"/>
      </a:folHlink>
    </a:clrScheme>
    <a:fontScheme name="1_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8575">
          <a:solidFill>
            <a:srgbClr val="FF0000"/>
          </a:solidFill>
          <a:round/>
          <a:headEnd/>
          <a:tailEnd/>
        </a:ln>
      </a:spPr>
      <a:bodyPr>
        <a:spAutoFit/>
      </a:bodyPr>
      <a:lstStyle>
        <a:defPPr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Default Design">
  <a:themeElements>
    <a:clrScheme name="1_Default Design 7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3399FF"/>
      </a:accent1>
      <a:accent2>
        <a:srgbClr val="99FFCC"/>
      </a:accent2>
      <a:accent3>
        <a:srgbClr val="FFFFFF"/>
      </a:accent3>
      <a:accent4>
        <a:srgbClr val="000000"/>
      </a:accent4>
      <a:accent5>
        <a:srgbClr val="ADCAFF"/>
      </a:accent5>
      <a:accent6>
        <a:srgbClr val="8AE7B9"/>
      </a:accent6>
      <a:hlink>
        <a:srgbClr val="CC00CC"/>
      </a:hlink>
      <a:folHlink>
        <a:srgbClr val="B2B2B2"/>
      </a:folHlink>
    </a:clrScheme>
    <a:fontScheme name="1_Default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28575">
          <a:solidFill>
            <a:srgbClr val="FF0000"/>
          </a:solidFill>
          <a:round/>
          <a:headEnd/>
          <a:tailEnd/>
        </a:ln>
      </a:spPr>
      <a:bodyPr>
        <a:spAutoFit/>
      </a:bodyPr>
      <a:lstStyle>
        <a:defPPr>
          <a:defRPr/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  <a:sp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it-IT" sz="11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1_Default Desig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Default Desig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Default Desig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Reply Consulting PRESENTATION WHITE 4.3">
  <a:themeElements>
    <a:clrScheme name="Impostazioni personalizzate 150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76B8A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Reply_ppt_template_black_4.3-TRIPLESENSE-CLD-rev.pptx" id="{5300BBF0-B928-40B7-A4F0-B85F7BB21587}" vid="{87529293-EB9D-4693-B12D-DC576F2C49D1}"/>
    </a:ext>
  </a:extLst>
</a:theme>
</file>

<file path=ppt/theme/theme4.xml><?xml version="1.0" encoding="utf-8"?>
<a:theme xmlns:a="http://schemas.openxmlformats.org/drawingml/2006/main" name="Reply">
  <a:themeElements>
    <a:clrScheme name="Impostazioni personalizzate 149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A6F90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097ED64C-1469-4E9B-A6EE-E169F18D7DB3}" vid="{B73C506B-0DF6-4CFA-9B1D-8AAF7C797600}"/>
    </a:ext>
  </a:extLst>
</a:theme>
</file>

<file path=ppt/theme/theme5.xml><?xml version="1.0" encoding="utf-8"?>
<a:theme xmlns:a="http://schemas.openxmlformats.org/drawingml/2006/main" name="1_Reply">
  <a:themeElements>
    <a:clrScheme name="Impostazioni personalizzate 149">
      <a:dk1>
        <a:srgbClr val="FFFFFF"/>
      </a:dk1>
      <a:lt1>
        <a:srgbClr val="000000"/>
      </a:lt1>
      <a:dk2>
        <a:srgbClr val="053238"/>
      </a:dk2>
      <a:lt2>
        <a:srgbClr val="576B8A"/>
      </a:lt2>
      <a:accent1>
        <a:srgbClr val="C6D1E2"/>
      </a:accent1>
      <a:accent2>
        <a:srgbClr val="5A6F90"/>
      </a:accent2>
      <a:accent3>
        <a:srgbClr val="84D896"/>
      </a:accent3>
      <a:accent4>
        <a:srgbClr val="22C0BD"/>
      </a:accent4>
      <a:accent5>
        <a:srgbClr val="6375B3"/>
      </a:accent5>
      <a:accent6>
        <a:srgbClr val="8BB4FF"/>
      </a:accent6>
      <a:hlink>
        <a:srgbClr val="FFFE50"/>
      </a:hlink>
      <a:folHlink>
        <a:srgbClr val="FFC100"/>
      </a:folHlink>
    </a:clrScheme>
    <a:fontScheme name="Office classico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FFFF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sz="14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4" id="{097ED64C-1469-4E9B-A6EE-E169F18D7DB3}" vid="{B73C506B-0DF6-4CFA-9B1D-8AAF7C797600}"/>
    </a:ext>
  </a:extLst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Watermark</Template>
  <TotalTime>22657</TotalTime>
  <Words>868</Words>
  <Application>Microsoft Office PowerPoint</Application>
  <PresentationFormat>Widescreen</PresentationFormat>
  <Paragraphs>712</Paragraphs>
  <Slides>10</Slides>
  <Notes>3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4</vt:i4>
      </vt:variant>
      <vt:variant>
        <vt:lpstr>Tema</vt:lpstr>
      </vt:variant>
      <vt:variant>
        <vt:i4>5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0</vt:i4>
      </vt:variant>
    </vt:vector>
  </HeadingPairs>
  <TitlesOfParts>
    <vt:vector size="20" baseType="lpstr">
      <vt:lpstr>Arial</vt:lpstr>
      <vt:lpstr>Arial Black</vt:lpstr>
      <vt:lpstr>Verdana</vt:lpstr>
      <vt:lpstr>Wingdings</vt:lpstr>
      <vt:lpstr>1_Default Design</vt:lpstr>
      <vt:lpstr>2_Default Design</vt:lpstr>
      <vt:lpstr>Reply Consulting PRESENTATION WHITE 4.3</vt:lpstr>
      <vt:lpstr>Reply</vt:lpstr>
      <vt:lpstr>1_Reply</vt:lpstr>
      <vt:lpstr>think-cell Folie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Thank you</vt:lpstr>
    </vt:vector>
  </TitlesOfParts>
  <Company>Reply Consulting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zione Dati Mensili Osservatorio Stampa</dc:title>
  <dc:creator>FCP</dc:creator>
  <cp:lastModifiedBy>Selvaggi Laura</cp:lastModifiedBy>
  <cp:revision>1978</cp:revision>
  <cp:lastPrinted>2018-02-21T16:03:09Z</cp:lastPrinted>
  <dcterms:created xsi:type="dcterms:W3CDTF">2006-03-29T09:09:15Z</dcterms:created>
  <dcterms:modified xsi:type="dcterms:W3CDTF">2018-03-21T08:49:50Z</dcterms:modified>
</cp:coreProperties>
</file>